
<file path=[Content_Types].xml><?xml version="1.0" encoding="utf-8"?>
<Types xmlns="http://schemas.openxmlformats.org/package/2006/content-types"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4"/>
  </p:sldMasterIdLst>
  <p:notesMasterIdLst>
    <p:notesMasterId r:id="rId18"/>
  </p:notesMasterIdLst>
  <p:handoutMasterIdLst>
    <p:handoutMasterId r:id="rId19"/>
  </p:handoutMasterIdLst>
  <p:sldIdLst>
    <p:sldId id="1962" r:id="rId5"/>
    <p:sldId id="2132736648" r:id="rId6"/>
    <p:sldId id="2132736647" r:id="rId7"/>
    <p:sldId id="2132736646" r:id="rId8"/>
    <p:sldId id="2132736653" r:id="rId9"/>
    <p:sldId id="2132736658" r:id="rId10"/>
    <p:sldId id="2132736649" r:id="rId11"/>
    <p:sldId id="2132736650" r:id="rId12"/>
    <p:sldId id="4473" r:id="rId13"/>
    <p:sldId id="2132736652" r:id="rId14"/>
    <p:sldId id="2132736654" r:id="rId15"/>
    <p:sldId id="2132736656" r:id="rId16"/>
    <p:sldId id="2132736637" r:id="rId17"/>
  </p:sldIdLst>
  <p:sldSz cx="12160250" cy="6840538"/>
  <p:notesSz cx="6858000" cy="9144000"/>
  <p:defaultTextStyle>
    <a:defPPr rtl="0"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1A8A6A"/>
    <a:srgbClr val="D7EFF5"/>
    <a:srgbClr val="000099"/>
    <a:srgbClr val="33CCFF"/>
    <a:srgbClr val="EAB200"/>
    <a:srgbClr val="5C89A4"/>
    <a:srgbClr val="E5E5E5"/>
    <a:srgbClr val="0000D0"/>
    <a:srgbClr val="D3B5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EBE81B-CC0F-45C4-82EA-84AE6789C35F}" v="1" dt="2023-12-11T09:06:43.8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23" autoAdjust="0"/>
    <p:restoredTop sz="94635" autoAdjust="0"/>
  </p:normalViewPr>
  <p:slideViewPr>
    <p:cSldViewPr snapToGrid="0">
      <p:cViewPr varScale="1">
        <p:scale>
          <a:sx n="67" d="100"/>
          <a:sy n="67" d="100"/>
        </p:scale>
        <p:origin x="680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9" d="100"/>
          <a:sy n="99" d="100"/>
        </p:scale>
        <p:origin x="357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rales Quintero, Estefania" userId="e01cac2d-fefc-4c64-bf4a-9068042570a4" providerId="ADAL" clId="{FDEBE81B-CC0F-45C4-82EA-84AE6789C35F}"/>
    <pc:docChg chg="undo custSel addSld delSld modSld sldOrd">
      <pc:chgData name="Morales Quintero, Estefania" userId="e01cac2d-fefc-4c64-bf4a-9068042570a4" providerId="ADAL" clId="{FDEBE81B-CC0F-45C4-82EA-84AE6789C35F}" dt="2023-12-11T15:07:44.478" v="1786" actId="1036"/>
      <pc:docMkLst>
        <pc:docMk/>
      </pc:docMkLst>
      <pc:sldChg chg="modSp mod">
        <pc:chgData name="Morales Quintero, Estefania" userId="e01cac2d-fefc-4c64-bf4a-9068042570a4" providerId="ADAL" clId="{FDEBE81B-CC0F-45C4-82EA-84AE6789C35F}" dt="2023-12-11T15:07:44.478" v="1786" actId="1036"/>
        <pc:sldMkLst>
          <pc:docMk/>
          <pc:sldMk cId="1483194105" sldId="1962"/>
        </pc:sldMkLst>
        <pc:spChg chg="mod">
          <ac:chgData name="Morales Quintero, Estefania" userId="e01cac2d-fefc-4c64-bf4a-9068042570a4" providerId="ADAL" clId="{FDEBE81B-CC0F-45C4-82EA-84AE6789C35F}" dt="2023-12-11T15:07:44.478" v="1786" actId="1036"/>
          <ac:spMkLst>
            <pc:docMk/>
            <pc:sldMk cId="1483194105" sldId="1962"/>
            <ac:spMk id="2" creationId="{10D7A309-4007-8CCE-3FAA-44DBD02B8E89}"/>
          </ac:spMkLst>
        </pc:spChg>
      </pc:sldChg>
      <pc:sldChg chg="del ord">
        <pc:chgData name="Morales Quintero, Estefania" userId="e01cac2d-fefc-4c64-bf4a-9068042570a4" providerId="ADAL" clId="{FDEBE81B-CC0F-45C4-82EA-84AE6789C35F}" dt="2023-12-11T09:05:45.761" v="1695" actId="47"/>
        <pc:sldMkLst>
          <pc:docMk/>
          <pc:sldMk cId="2230397012" sldId="4477"/>
        </pc:sldMkLst>
      </pc:sldChg>
      <pc:sldChg chg="modSp mod">
        <pc:chgData name="Morales Quintero, Estefania" userId="e01cac2d-fefc-4c64-bf4a-9068042570a4" providerId="ADAL" clId="{FDEBE81B-CC0F-45C4-82EA-84AE6789C35F}" dt="2023-12-11T09:06:19.952" v="1696" actId="6549"/>
        <pc:sldMkLst>
          <pc:docMk/>
          <pc:sldMk cId="3893433224" sldId="2132736637"/>
        </pc:sldMkLst>
        <pc:spChg chg="mod">
          <ac:chgData name="Morales Quintero, Estefania" userId="e01cac2d-fefc-4c64-bf4a-9068042570a4" providerId="ADAL" clId="{FDEBE81B-CC0F-45C4-82EA-84AE6789C35F}" dt="2023-12-11T09:06:19.952" v="1696" actId="6549"/>
          <ac:spMkLst>
            <pc:docMk/>
            <pc:sldMk cId="3893433224" sldId="2132736637"/>
            <ac:spMk id="6" creationId="{AABAF9D4-19AD-402A-9185-9ACFB523DDED}"/>
          </ac:spMkLst>
        </pc:spChg>
      </pc:sldChg>
      <pc:sldChg chg="del">
        <pc:chgData name="Morales Quintero, Estefania" userId="e01cac2d-fefc-4c64-bf4a-9068042570a4" providerId="ADAL" clId="{FDEBE81B-CC0F-45C4-82EA-84AE6789C35F}" dt="2023-12-11T09:05:41.016" v="1694" actId="47"/>
        <pc:sldMkLst>
          <pc:docMk/>
          <pc:sldMk cId="3342541656" sldId="2132736643"/>
        </pc:sldMkLst>
      </pc:sldChg>
      <pc:sldChg chg="addSp delSp modSp mod">
        <pc:chgData name="Morales Quintero, Estefania" userId="e01cac2d-fefc-4c64-bf4a-9068042570a4" providerId="ADAL" clId="{FDEBE81B-CC0F-45C4-82EA-84AE6789C35F}" dt="2023-12-11T09:29:00.811" v="1746" actId="115"/>
        <pc:sldMkLst>
          <pc:docMk/>
          <pc:sldMk cId="206685637" sldId="2132736646"/>
        </pc:sldMkLst>
        <pc:spChg chg="del mod">
          <ac:chgData name="Morales Quintero, Estefania" userId="e01cac2d-fefc-4c64-bf4a-9068042570a4" providerId="ADAL" clId="{FDEBE81B-CC0F-45C4-82EA-84AE6789C35F}" dt="2023-12-11T09:04:01.266" v="1677" actId="478"/>
          <ac:spMkLst>
            <pc:docMk/>
            <pc:sldMk cId="206685637" sldId="2132736646"/>
            <ac:spMk id="3" creationId="{F2DCA973-EF0A-5052-0343-9D239D26E2FD}"/>
          </ac:spMkLst>
        </pc:spChg>
        <pc:spChg chg="add mod">
          <ac:chgData name="Morales Quintero, Estefania" userId="e01cac2d-fefc-4c64-bf4a-9068042570a4" providerId="ADAL" clId="{FDEBE81B-CC0F-45C4-82EA-84AE6789C35F}" dt="2023-12-11T09:29:00.811" v="1746" actId="115"/>
          <ac:spMkLst>
            <pc:docMk/>
            <pc:sldMk cId="206685637" sldId="2132736646"/>
            <ac:spMk id="5" creationId="{96FD3F37-08EC-F456-8DFF-E4F48BE92937}"/>
          </ac:spMkLst>
        </pc:spChg>
      </pc:sldChg>
      <pc:sldChg chg="modSp mod">
        <pc:chgData name="Morales Quintero, Estefania" userId="e01cac2d-fefc-4c64-bf4a-9068042570a4" providerId="ADAL" clId="{FDEBE81B-CC0F-45C4-82EA-84AE6789C35F}" dt="2023-12-11T09:44:20.819" v="1783" actId="123"/>
        <pc:sldMkLst>
          <pc:docMk/>
          <pc:sldMk cId="3892507992" sldId="2132736647"/>
        </pc:sldMkLst>
        <pc:spChg chg="mod">
          <ac:chgData name="Morales Quintero, Estefania" userId="e01cac2d-fefc-4c64-bf4a-9068042570a4" providerId="ADAL" clId="{FDEBE81B-CC0F-45C4-82EA-84AE6789C35F}" dt="2023-12-11T09:44:03.276" v="1779" actId="123"/>
          <ac:spMkLst>
            <pc:docMk/>
            <pc:sldMk cId="3892507992" sldId="2132736647"/>
            <ac:spMk id="66" creationId="{3A4AE442-8CB0-466B-9823-B1C36A638FCD}"/>
          </ac:spMkLst>
        </pc:spChg>
        <pc:spChg chg="mod">
          <ac:chgData name="Morales Quintero, Estefania" userId="e01cac2d-fefc-4c64-bf4a-9068042570a4" providerId="ADAL" clId="{FDEBE81B-CC0F-45C4-82EA-84AE6789C35F}" dt="2023-12-11T09:44:20.819" v="1783" actId="123"/>
          <ac:spMkLst>
            <pc:docMk/>
            <pc:sldMk cId="3892507992" sldId="2132736647"/>
            <ac:spMk id="69" creationId="{8567D3E8-E7FE-446F-BA3C-4D93615A58C7}"/>
          </ac:spMkLst>
        </pc:spChg>
        <pc:spChg chg="mod">
          <ac:chgData name="Morales Quintero, Estefania" userId="e01cac2d-fefc-4c64-bf4a-9068042570a4" providerId="ADAL" clId="{FDEBE81B-CC0F-45C4-82EA-84AE6789C35F}" dt="2023-12-04T17:30:18.071" v="677" actId="20577"/>
          <ac:spMkLst>
            <pc:docMk/>
            <pc:sldMk cId="3892507992" sldId="2132736647"/>
            <ac:spMk id="72" creationId="{F15179E4-DEC7-4CD6-8F3E-4767502B57C1}"/>
          </ac:spMkLst>
        </pc:spChg>
        <pc:spChg chg="mod">
          <ac:chgData name="Morales Quintero, Estefania" userId="e01cac2d-fefc-4c64-bf4a-9068042570a4" providerId="ADAL" clId="{FDEBE81B-CC0F-45C4-82EA-84AE6789C35F}" dt="2023-12-04T17:30:40.650" v="682" actId="6549"/>
          <ac:spMkLst>
            <pc:docMk/>
            <pc:sldMk cId="3892507992" sldId="2132736647"/>
            <ac:spMk id="75" creationId="{210561D8-D22D-47B2-AB9A-884EBF4C5F62}"/>
          </ac:spMkLst>
        </pc:spChg>
      </pc:sldChg>
      <pc:sldChg chg="modSp mod">
        <pc:chgData name="Morales Quintero, Estefania" userId="e01cac2d-fefc-4c64-bf4a-9068042570a4" providerId="ADAL" clId="{FDEBE81B-CC0F-45C4-82EA-84AE6789C35F}" dt="2023-12-11T09:25:32.890" v="1745" actId="20577"/>
        <pc:sldMkLst>
          <pc:docMk/>
          <pc:sldMk cId="2538659325" sldId="2132736648"/>
        </pc:sldMkLst>
        <pc:spChg chg="mod">
          <ac:chgData name="Morales Quintero, Estefania" userId="e01cac2d-fefc-4c64-bf4a-9068042570a4" providerId="ADAL" clId="{FDEBE81B-CC0F-45C4-82EA-84AE6789C35F}" dt="2023-12-11T09:25:32.890" v="1745" actId="20577"/>
          <ac:spMkLst>
            <pc:docMk/>
            <pc:sldMk cId="2538659325" sldId="2132736648"/>
            <ac:spMk id="7" creationId="{5DA86EC9-8A74-4530-B5A2-798E7C8510E6}"/>
          </ac:spMkLst>
        </pc:spChg>
      </pc:sldChg>
      <pc:sldChg chg="modSp mod">
        <pc:chgData name="Morales Quintero, Estefania" userId="e01cac2d-fefc-4c64-bf4a-9068042570a4" providerId="ADAL" clId="{FDEBE81B-CC0F-45C4-82EA-84AE6789C35F}" dt="2023-12-11T09:43:51.868" v="1778" actId="123"/>
        <pc:sldMkLst>
          <pc:docMk/>
          <pc:sldMk cId="1952550576" sldId="2132736652"/>
        </pc:sldMkLst>
        <pc:spChg chg="mod">
          <ac:chgData name="Morales Quintero, Estefania" userId="e01cac2d-fefc-4c64-bf4a-9068042570a4" providerId="ADAL" clId="{FDEBE81B-CC0F-45C4-82EA-84AE6789C35F}" dt="2023-12-11T09:43:29.115" v="1774" actId="123"/>
          <ac:spMkLst>
            <pc:docMk/>
            <pc:sldMk cId="1952550576" sldId="2132736652"/>
            <ac:spMk id="44" creationId="{8C75E3C5-CCF9-4783-859B-5D388A82A552}"/>
          </ac:spMkLst>
        </pc:spChg>
        <pc:spChg chg="mod">
          <ac:chgData name="Morales Quintero, Estefania" userId="e01cac2d-fefc-4c64-bf4a-9068042570a4" providerId="ADAL" clId="{FDEBE81B-CC0F-45C4-82EA-84AE6789C35F}" dt="2023-12-11T09:43:34.019" v="1775" actId="123"/>
          <ac:spMkLst>
            <pc:docMk/>
            <pc:sldMk cId="1952550576" sldId="2132736652"/>
            <ac:spMk id="70" creationId="{B64CDF4C-503A-435B-828F-2219CB0366BC}"/>
          </ac:spMkLst>
        </pc:spChg>
        <pc:spChg chg="mod">
          <ac:chgData name="Morales Quintero, Estefania" userId="e01cac2d-fefc-4c64-bf4a-9068042570a4" providerId="ADAL" clId="{FDEBE81B-CC0F-45C4-82EA-84AE6789C35F}" dt="2023-12-11T09:43:43.100" v="1777" actId="1076"/>
          <ac:spMkLst>
            <pc:docMk/>
            <pc:sldMk cId="1952550576" sldId="2132736652"/>
            <ac:spMk id="71" creationId="{A0D15FBB-BE0B-48CD-9C4C-FDB80B6F3CDC}"/>
          </ac:spMkLst>
        </pc:spChg>
        <pc:spChg chg="mod">
          <ac:chgData name="Morales Quintero, Estefania" userId="e01cac2d-fefc-4c64-bf4a-9068042570a4" providerId="ADAL" clId="{FDEBE81B-CC0F-45C4-82EA-84AE6789C35F}" dt="2023-12-11T09:43:51.868" v="1778" actId="123"/>
          <ac:spMkLst>
            <pc:docMk/>
            <pc:sldMk cId="1952550576" sldId="2132736652"/>
            <ac:spMk id="72" creationId="{D71ECB47-DF8C-4AF7-846C-49C4985118B4}"/>
          </ac:spMkLst>
        </pc:spChg>
      </pc:sldChg>
      <pc:sldChg chg="modSp mod ord">
        <pc:chgData name="Morales Quintero, Estefania" userId="e01cac2d-fefc-4c64-bf4a-9068042570a4" providerId="ADAL" clId="{FDEBE81B-CC0F-45C4-82EA-84AE6789C35F}" dt="2023-12-11T09:05:27.536" v="1693"/>
        <pc:sldMkLst>
          <pc:docMk/>
          <pc:sldMk cId="910565271" sldId="2132736653"/>
        </pc:sldMkLst>
        <pc:spChg chg="mod">
          <ac:chgData name="Morales Quintero, Estefania" userId="e01cac2d-fefc-4c64-bf4a-9068042570a4" providerId="ADAL" clId="{FDEBE81B-CC0F-45C4-82EA-84AE6789C35F}" dt="2023-12-07T16:10:25.899" v="1373" actId="1076"/>
          <ac:spMkLst>
            <pc:docMk/>
            <pc:sldMk cId="910565271" sldId="2132736653"/>
            <ac:spMk id="16" creationId="{C7DA380F-EAEC-4BE8-BA43-977CAD9EAF52}"/>
          </ac:spMkLst>
        </pc:spChg>
        <pc:spChg chg="mod">
          <ac:chgData name="Morales Quintero, Estefania" userId="e01cac2d-fefc-4c64-bf4a-9068042570a4" providerId="ADAL" clId="{FDEBE81B-CC0F-45C4-82EA-84AE6789C35F}" dt="2023-12-07T16:10:39.272" v="1377" actId="1035"/>
          <ac:spMkLst>
            <pc:docMk/>
            <pc:sldMk cId="910565271" sldId="2132736653"/>
            <ac:spMk id="35" creationId="{B9433F0B-1B25-4DE2-8DD0-4A4F78B76F92}"/>
          </ac:spMkLst>
        </pc:spChg>
      </pc:sldChg>
      <pc:sldChg chg="modSp mod">
        <pc:chgData name="Morales Quintero, Estefania" userId="e01cac2d-fefc-4c64-bf4a-9068042570a4" providerId="ADAL" clId="{FDEBE81B-CC0F-45C4-82EA-84AE6789C35F}" dt="2023-12-11T09:25:00.760" v="1730" actId="6549"/>
        <pc:sldMkLst>
          <pc:docMk/>
          <pc:sldMk cId="1808267912" sldId="2132736656"/>
        </pc:sldMkLst>
        <pc:spChg chg="mod">
          <ac:chgData name="Morales Quintero, Estefania" userId="e01cac2d-fefc-4c64-bf4a-9068042570a4" providerId="ADAL" clId="{FDEBE81B-CC0F-45C4-82EA-84AE6789C35F}" dt="2023-12-11T09:06:46.003" v="1698" actId="20577"/>
          <ac:spMkLst>
            <pc:docMk/>
            <pc:sldMk cId="1808267912" sldId="2132736656"/>
            <ac:spMk id="22" creationId="{8C3AF1F1-DB63-4E08-AA0D-CB1DC6D212E5}"/>
          </ac:spMkLst>
        </pc:spChg>
        <pc:spChg chg="mod">
          <ac:chgData name="Morales Quintero, Estefania" userId="e01cac2d-fefc-4c64-bf4a-9068042570a4" providerId="ADAL" clId="{FDEBE81B-CC0F-45C4-82EA-84AE6789C35F}" dt="2023-12-11T09:07:17.735" v="1713" actId="20577"/>
          <ac:spMkLst>
            <pc:docMk/>
            <pc:sldMk cId="1808267912" sldId="2132736656"/>
            <ac:spMk id="44" creationId="{BB8CF9B7-4401-4659-AB9D-FBE5DCC709B1}"/>
          </ac:spMkLst>
        </pc:spChg>
        <pc:spChg chg="mod">
          <ac:chgData name="Morales Quintero, Estefania" userId="e01cac2d-fefc-4c64-bf4a-9068042570a4" providerId="ADAL" clId="{FDEBE81B-CC0F-45C4-82EA-84AE6789C35F}" dt="2023-12-11T09:07:31.648" v="1729" actId="20577"/>
          <ac:spMkLst>
            <pc:docMk/>
            <pc:sldMk cId="1808267912" sldId="2132736656"/>
            <ac:spMk id="48" creationId="{AAD28B05-A37A-42BF-85C4-AC3F95470F28}"/>
          </ac:spMkLst>
        </pc:spChg>
        <pc:spChg chg="mod">
          <ac:chgData name="Morales Quintero, Estefania" userId="e01cac2d-fefc-4c64-bf4a-9068042570a4" providerId="ADAL" clId="{FDEBE81B-CC0F-45C4-82EA-84AE6789C35F}" dt="2023-12-11T09:25:00.760" v="1730" actId="6549"/>
          <ac:spMkLst>
            <pc:docMk/>
            <pc:sldMk cId="1808267912" sldId="2132736656"/>
            <ac:spMk id="52" creationId="{54169CDF-B330-4076-AEBD-E8ECA428C51B}"/>
          </ac:spMkLst>
        </pc:spChg>
      </pc:sldChg>
      <pc:sldChg chg="modSp del mod">
        <pc:chgData name="Morales Quintero, Estefania" userId="e01cac2d-fefc-4c64-bf4a-9068042570a4" providerId="ADAL" clId="{FDEBE81B-CC0F-45C4-82EA-84AE6789C35F}" dt="2023-12-07T16:56:45.374" v="1378" actId="47"/>
        <pc:sldMkLst>
          <pc:docMk/>
          <pc:sldMk cId="2922409633" sldId="2132736657"/>
        </pc:sldMkLst>
        <pc:spChg chg="mod">
          <ac:chgData name="Morales Quintero, Estefania" userId="e01cac2d-fefc-4c64-bf4a-9068042570a4" providerId="ADAL" clId="{FDEBE81B-CC0F-45C4-82EA-84AE6789C35F}" dt="2023-12-04T17:13:23.239" v="16" actId="20577"/>
          <ac:spMkLst>
            <pc:docMk/>
            <pc:sldMk cId="2922409633" sldId="2132736657"/>
            <ac:spMk id="16" creationId="{C7DA380F-EAEC-4BE8-BA43-977CAD9EAF52}"/>
          </ac:spMkLst>
        </pc:spChg>
        <pc:spChg chg="mod">
          <ac:chgData name="Morales Quintero, Estefania" userId="e01cac2d-fefc-4c64-bf4a-9068042570a4" providerId="ADAL" clId="{FDEBE81B-CC0F-45C4-82EA-84AE6789C35F}" dt="2023-12-04T17:21:40.845" v="28" actId="20577"/>
          <ac:spMkLst>
            <pc:docMk/>
            <pc:sldMk cId="2922409633" sldId="2132736657"/>
            <ac:spMk id="65" creationId="{CB3F9AD6-33C9-487F-951A-F9CA41DF810C}"/>
          </ac:spMkLst>
        </pc:spChg>
        <pc:spChg chg="mod">
          <ac:chgData name="Morales Quintero, Estefania" userId="e01cac2d-fefc-4c64-bf4a-9068042570a4" providerId="ADAL" clId="{FDEBE81B-CC0F-45C4-82EA-84AE6789C35F}" dt="2023-12-04T17:13:27.274" v="17" actId="6549"/>
          <ac:spMkLst>
            <pc:docMk/>
            <pc:sldMk cId="2922409633" sldId="2132736657"/>
            <ac:spMk id="66" creationId="{3A4AE442-8CB0-466B-9823-B1C36A638FCD}"/>
          </ac:spMkLst>
        </pc:spChg>
        <pc:spChg chg="mod">
          <ac:chgData name="Morales Quintero, Estefania" userId="e01cac2d-fefc-4c64-bf4a-9068042570a4" providerId="ADAL" clId="{FDEBE81B-CC0F-45C4-82EA-84AE6789C35F}" dt="2023-12-04T17:13:29.315" v="18" actId="6549"/>
          <ac:spMkLst>
            <pc:docMk/>
            <pc:sldMk cId="2922409633" sldId="2132736657"/>
            <ac:spMk id="69" creationId="{8567D3E8-E7FE-446F-BA3C-4D93615A58C7}"/>
          </ac:spMkLst>
        </pc:spChg>
      </pc:sldChg>
      <pc:sldChg chg="modSp add mod ord">
        <pc:chgData name="Morales Quintero, Estefania" userId="e01cac2d-fefc-4c64-bf4a-9068042570a4" providerId="ADAL" clId="{FDEBE81B-CC0F-45C4-82EA-84AE6789C35F}" dt="2023-12-11T09:05:05.519" v="1691" actId="113"/>
        <pc:sldMkLst>
          <pc:docMk/>
          <pc:sldMk cId="3208138613" sldId="2132736658"/>
        </pc:sldMkLst>
        <pc:spChg chg="mod">
          <ac:chgData name="Morales Quintero, Estefania" userId="e01cac2d-fefc-4c64-bf4a-9068042570a4" providerId="ADAL" clId="{FDEBE81B-CC0F-45C4-82EA-84AE6789C35F}" dt="2023-12-11T09:04:49.034" v="1690" actId="20577"/>
          <ac:spMkLst>
            <pc:docMk/>
            <pc:sldMk cId="3208138613" sldId="2132736658"/>
            <ac:spMk id="16" creationId="{C7DA380F-EAEC-4BE8-BA43-977CAD9EAF52}"/>
          </ac:spMkLst>
        </pc:spChg>
        <pc:spChg chg="mod">
          <ac:chgData name="Morales Quintero, Estefania" userId="e01cac2d-fefc-4c64-bf4a-9068042570a4" providerId="ADAL" clId="{FDEBE81B-CC0F-45C4-82EA-84AE6789C35F}" dt="2023-12-04T17:42:13.809" v="1115" actId="14100"/>
          <ac:spMkLst>
            <pc:docMk/>
            <pc:sldMk cId="3208138613" sldId="2132736658"/>
            <ac:spMk id="65" creationId="{CB3F9AD6-33C9-487F-951A-F9CA41DF810C}"/>
          </ac:spMkLst>
        </pc:spChg>
        <pc:spChg chg="mod">
          <ac:chgData name="Morales Quintero, Estefania" userId="e01cac2d-fefc-4c64-bf4a-9068042570a4" providerId="ADAL" clId="{FDEBE81B-CC0F-45C4-82EA-84AE6789C35F}" dt="2023-12-04T17:29:04.397" v="642" actId="108"/>
          <ac:spMkLst>
            <pc:docMk/>
            <pc:sldMk cId="3208138613" sldId="2132736658"/>
            <ac:spMk id="66" creationId="{3A4AE442-8CB0-466B-9823-B1C36A638FCD}"/>
          </ac:spMkLst>
        </pc:spChg>
        <pc:spChg chg="mod">
          <ac:chgData name="Morales Quintero, Estefania" userId="e01cac2d-fefc-4c64-bf4a-9068042570a4" providerId="ADAL" clId="{FDEBE81B-CC0F-45C4-82EA-84AE6789C35F}" dt="2023-12-04T17:42:24.352" v="1116" actId="14100"/>
          <ac:spMkLst>
            <pc:docMk/>
            <pc:sldMk cId="3208138613" sldId="2132736658"/>
            <ac:spMk id="68" creationId="{2BDFB42A-ECFB-4727-BC35-CA9B0300DB92}"/>
          </ac:spMkLst>
        </pc:spChg>
        <pc:spChg chg="mod">
          <ac:chgData name="Morales Quintero, Estefania" userId="e01cac2d-fefc-4c64-bf4a-9068042570a4" providerId="ADAL" clId="{FDEBE81B-CC0F-45C4-82EA-84AE6789C35F}" dt="2023-12-11T09:05:05.519" v="1691" actId="113"/>
          <ac:spMkLst>
            <pc:docMk/>
            <pc:sldMk cId="3208138613" sldId="2132736658"/>
            <ac:spMk id="69" creationId="{8567D3E8-E7FE-446F-BA3C-4D93615A58C7}"/>
          </ac:spMkLst>
        </pc:spChg>
        <pc:spChg chg="mod">
          <ac:chgData name="Morales Quintero, Estefania" userId="e01cac2d-fefc-4c64-bf4a-9068042570a4" providerId="ADAL" clId="{FDEBE81B-CC0F-45C4-82EA-84AE6789C35F}" dt="2023-12-04T17:42:32.352" v="1117" actId="14100"/>
          <ac:spMkLst>
            <pc:docMk/>
            <pc:sldMk cId="3208138613" sldId="2132736658"/>
            <ac:spMk id="71" creationId="{E6688720-EBCF-45DC-A4DB-1DEAF09D5D48}"/>
          </ac:spMkLst>
        </pc:spChg>
        <pc:spChg chg="mod">
          <ac:chgData name="Morales Quintero, Estefania" userId="e01cac2d-fefc-4c64-bf4a-9068042570a4" providerId="ADAL" clId="{FDEBE81B-CC0F-45C4-82EA-84AE6789C35F}" dt="2023-12-04T17:42:02.745" v="1114" actId="20577"/>
          <ac:spMkLst>
            <pc:docMk/>
            <pc:sldMk cId="3208138613" sldId="2132736658"/>
            <ac:spMk id="72" creationId="{F15179E4-DEC7-4CD6-8F3E-4767502B57C1}"/>
          </ac:spMkLst>
        </pc:spChg>
        <pc:spChg chg="mod">
          <ac:chgData name="Morales Quintero, Estefania" userId="e01cac2d-fefc-4c64-bf4a-9068042570a4" providerId="ADAL" clId="{FDEBE81B-CC0F-45C4-82EA-84AE6789C35F}" dt="2023-12-04T17:42:34.585" v="1118" actId="14100"/>
          <ac:spMkLst>
            <pc:docMk/>
            <pc:sldMk cId="3208138613" sldId="2132736658"/>
            <ac:spMk id="74" creationId="{D78072E2-6B54-4B57-BCCB-125AE3EC8B0F}"/>
          </ac:spMkLst>
        </pc:spChg>
        <pc:spChg chg="mod">
          <ac:chgData name="Morales Quintero, Estefania" userId="e01cac2d-fefc-4c64-bf4a-9068042570a4" providerId="ADAL" clId="{FDEBE81B-CC0F-45C4-82EA-84AE6789C35F}" dt="2023-12-04T17:49:40.721" v="1367" actId="20577"/>
          <ac:spMkLst>
            <pc:docMk/>
            <pc:sldMk cId="3208138613" sldId="2132736658"/>
            <ac:spMk id="75" creationId="{210561D8-D22D-47B2-AB9A-884EBF4C5F6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encabezado 1">
            <a:extLst>
              <a:ext uri="{FF2B5EF4-FFF2-40B4-BE49-F238E27FC236}">
                <a16:creationId xmlns:a16="http://schemas.microsoft.com/office/drawing/2014/main" id="{AE2E5B3A-EA18-4791-B294-D9A8660082A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es-ES" noProof="1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9B822DD-F172-448D-A86E-90893C15423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430E3A2F-6043-4BE3-9607-FABCAD0C18F7}" type="datetime1">
              <a:rPr lang="es-ES" noProof="1" smtClean="0"/>
              <a:t>11/12/2023</a:t>
            </a:fld>
            <a:endParaRPr lang="es-ES" noProof="1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1FD9D06-CA38-4B28-B135-67E040067E9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es-ES" noProof="1"/>
          </a:p>
        </p:txBody>
      </p:sp>
      <p:sp>
        <p:nvSpPr>
          <p:cNvPr id="5" name="Marcador de posición de número de diapositiva 4">
            <a:extLst>
              <a:ext uri="{FF2B5EF4-FFF2-40B4-BE49-F238E27FC236}">
                <a16:creationId xmlns:a16="http://schemas.microsoft.com/office/drawing/2014/main" id="{09627AF3-9F2D-47B8-A882-5AC57D2B32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F927A650-E372-4052-8808-EF9E83D23C6F}" type="slidenum">
              <a:rPr lang="es-ES" noProof="1" smtClean="0"/>
              <a:t>‹Nº›</a:t>
            </a:fld>
            <a:endParaRPr lang="es-ES" noProof="1"/>
          </a:p>
        </p:txBody>
      </p:sp>
    </p:spTree>
    <p:extLst>
      <p:ext uri="{BB962C8B-B14F-4D97-AF65-F5344CB8AC3E}">
        <p14:creationId xmlns:p14="http://schemas.microsoft.com/office/powerpoint/2010/main" val="365068642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es-ES" noProof="1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DAAB632C-5F03-46A0-932F-83AC33E953F3}" type="datetime1">
              <a:rPr lang="es-ES" noProof="1" smtClean="0"/>
              <a:t>11/12/2023</a:t>
            </a:fld>
            <a:endParaRPr lang="es-ES" noProof="1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es-ES" noProof="1"/>
          </a:p>
        </p:txBody>
      </p:sp>
      <p:sp>
        <p:nvSpPr>
          <p:cNvPr id="5" name="Marcador de posición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es-ES" noProof="1"/>
              <a:t>Haga clic para modificar los estilos de texto del patrón</a:t>
            </a:r>
          </a:p>
          <a:p>
            <a:pPr lvl="1" rtl="0"/>
            <a:r>
              <a:rPr lang="es-ES" noProof="1"/>
              <a:t>Segundo nivel</a:t>
            </a:r>
          </a:p>
          <a:p>
            <a:pPr lvl="2" rtl="0"/>
            <a:r>
              <a:rPr lang="es-ES" noProof="1"/>
              <a:t>Tercer nivel</a:t>
            </a:r>
          </a:p>
          <a:p>
            <a:pPr lvl="3" rtl="0"/>
            <a:r>
              <a:rPr lang="es-ES" noProof="1"/>
              <a:t>Cuarto nivel</a:t>
            </a:r>
          </a:p>
          <a:p>
            <a:pPr lvl="4" rtl="0"/>
            <a:r>
              <a:rPr lang="es-ES" noProof="1"/>
              <a:t>Quinto nivel</a:t>
            </a:r>
          </a:p>
        </p:txBody>
      </p:sp>
      <p:sp>
        <p:nvSpPr>
          <p:cNvPr id="6" name="Marcador de posición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es-ES" noProof="1"/>
          </a:p>
        </p:txBody>
      </p:sp>
      <p:sp>
        <p:nvSpPr>
          <p:cNvPr id="7" name="Marcador de posición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97DE7A88-354A-45EE-8363-1002DE8A3656}" type="slidenum">
              <a:rPr lang="es-ES" noProof="1" dirty="0" smtClean="0"/>
              <a:t>‹Nº›</a:t>
            </a:fld>
            <a:endParaRPr lang="es-ES" noProof="1"/>
          </a:p>
        </p:txBody>
      </p:sp>
    </p:spTree>
    <p:extLst>
      <p:ext uri="{BB962C8B-B14F-4D97-AF65-F5344CB8AC3E}">
        <p14:creationId xmlns:p14="http://schemas.microsoft.com/office/powerpoint/2010/main" val="23642062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21B6E6B-963E-431E-A77D-FFDCAF9F28AF}" type="slidenum">
              <a:rPr lang="es-ES" smtClean="0"/>
              <a:pPr>
                <a:defRPr/>
              </a:pPr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95340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8800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79411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5482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23766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3277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36076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5753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8498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1212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50703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4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1B6E6B-963E-431E-A77D-FFDCAF9F28A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rlesworth"/>
                <a:ea typeface="+mn-ea"/>
                <a:cs typeface="+mn-cs"/>
              </a:rPr>
              <a:pPr marL="0" marR="0" lvl="0" indent="0" algn="r" defTabSz="90743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rlesworth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70468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jp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cid:image001.png@01D8F533.7429BFE0" TargetMode="External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jp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cid:image001.png@01D8F533.7429BFE0" TargetMode="External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8.png"/><Relationship Id="rId7" Type="http://schemas.openxmlformats.org/officeDocument/2006/relationships/image" Target="cid:image001.png@01D8F533.7429BFE0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7.png"/><Relationship Id="rId4" Type="http://schemas.microsoft.com/office/2007/relationships/hdphoto" Target="../media/hdphoto1.wdp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6" descr="SILO-LOGO_blanco_Mesa de trabajo 1.png">
            <a:extLst>
              <a:ext uri="{FF2B5EF4-FFF2-40B4-BE49-F238E27FC236}">
                <a16:creationId xmlns:a16="http://schemas.microsoft.com/office/drawing/2014/main" id="{C27DEC85-B55B-45CC-85D4-FB47FC7DA7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2773" y="379571"/>
            <a:ext cx="1311606" cy="731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A city with buildings and roads">
            <a:extLst>
              <a:ext uri="{FF2B5EF4-FFF2-40B4-BE49-F238E27FC236}">
                <a16:creationId xmlns:a16="http://schemas.microsoft.com/office/drawing/2014/main" id="{CB540220-E6D1-2FF9-2C14-33A7047391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43747"/>
          <a:stretch/>
        </p:blipFill>
        <p:spPr>
          <a:xfrm>
            <a:off x="0" y="-1"/>
            <a:ext cx="12160250" cy="68405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4E76807-38E4-6C68-B7D5-B74ECE9BA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0302" t="23027" r="38503" b="21250"/>
          <a:stretch/>
        </p:blipFill>
        <p:spPr>
          <a:xfrm>
            <a:off x="3761439" y="5997663"/>
            <a:ext cx="501152" cy="503544"/>
          </a:xfrm>
          <a:prstGeom prst="rect">
            <a:avLst/>
          </a:prstGeom>
        </p:spPr>
      </p:pic>
      <p:pic>
        <p:nvPicPr>
          <p:cNvPr id="8" name="Imagen 1">
            <a:extLst>
              <a:ext uri="{FF2B5EF4-FFF2-40B4-BE49-F238E27FC236}">
                <a16:creationId xmlns:a16="http://schemas.microsoft.com/office/drawing/2014/main" id="{CD70CDD1-4A87-A7A5-43AD-BEA38DFF0D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9618" y="5997663"/>
            <a:ext cx="1913613" cy="503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4860CAA-A72F-3F65-CB14-58E944F15C7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310216" y="5997663"/>
            <a:ext cx="5681777" cy="503544"/>
          </a:xfrm>
          <a:prstGeom prst="rect">
            <a:avLst/>
          </a:prstGeom>
        </p:spPr>
      </p:pic>
      <p:pic>
        <p:nvPicPr>
          <p:cNvPr id="11" name="Imagen 6" descr="SILO-LOGO_blanco_Mesa de trabajo 1.png">
            <a:extLst>
              <a:ext uri="{FF2B5EF4-FFF2-40B4-BE49-F238E27FC236}">
                <a16:creationId xmlns:a16="http://schemas.microsoft.com/office/drawing/2014/main" id="{791343FB-1DC6-BCB1-FB39-913F11E7927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82" y="194279"/>
            <a:ext cx="729894" cy="407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096CFEB-66B8-429F-B3F3-56635B3D0B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b="67224"/>
          <a:stretch/>
        </p:blipFill>
        <p:spPr>
          <a:xfrm>
            <a:off x="2575299" y="5997663"/>
            <a:ext cx="1138515" cy="50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7097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6" descr="SILO-LOGO_blanco_Mesa de trabajo 1.png">
            <a:extLst>
              <a:ext uri="{FF2B5EF4-FFF2-40B4-BE49-F238E27FC236}">
                <a16:creationId xmlns:a16="http://schemas.microsoft.com/office/drawing/2014/main" id="{C27DEC85-B55B-45CC-85D4-FB47FC7DA7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2773" y="379571"/>
            <a:ext cx="1311606" cy="731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A city with buildings and roads">
            <a:extLst>
              <a:ext uri="{FF2B5EF4-FFF2-40B4-BE49-F238E27FC236}">
                <a16:creationId xmlns:a16="http://schemas.microsoft.com/office/drawing/2014/main" id="{CB540220-E6D1-2FF9-2C14-33A7047391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20000"/>
          </a:blip>
          <a:srcRect b="43747"/>
          <a:stretch/>
        </p:blipFill>
        <p:spPr>
          <a:xfrm>
            <a:off x="0" y="-1"/>
            <a:ext cx="12160250" cy="684053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CF3B5F1-AC0C-CD98-1F40-18B257FF07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0302" t="23027" r="38503" b="21250"/>
          <a:stretch/>
        </p:blipFill>
        <p:spPr>
          <a:xfrm>
            <a:off x="3761439" y="5997663"/>
            <a:ext cx="501152" cy="503544"/>
          </a:xfrm>
          <a:prstGeom prst="rect">
            <a:avLst/>
          </a:prstGeom>
        </p:spPr>
      </p:pic>
      <p:pic>
        <p:nvPicPr>
          <p:cNvPr id="4" name="Imagen 1">
            <a:extLst>
              <a:ext uri="{FF2B5EF4-FFF2-40B4-BE49-F238E27FC236}">
                <a16:creationId xmlns:a16="http://schemas.microsoft.com/office/drawing/2014/main" id="{453C1249-F87A-4B4A-1661-29B8A273EF7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9618" y="5997663"/>
            <a:ext cx="1913613" cy="503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D9D2FCC-B523-2723-5CE9-AE14F50C36F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310216" y="5997663"/>
            <a:ext cx="5681777" cy="503544"/>
          </a:xfrm>
          <a:prstGeom prst="rect">
            <a:avLst/>
          </a:prstGeom>
        </p:spPr>
      </p:pic>
      <p:pic>
        <p:nvPicPr>
          <p:cNvPr id="7" name="Imagen 6" descr="SILO-LOGO_blanco_Mesa de trabajo 1.png">
            <a:extLst>
              <a:ext uri="{FF2B5EF4-FFF2-40B4-BE49-F238E27FC236}">
                <a16:creationId xmlns:a16="http://schemas.microsoft.com/office/drawing/2014/main" id="{B0D7320F-D81A-4437-DB17-1B54E8C2041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81" y="194279"/>
            <a:ext cx="663219" cy="370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CA2EBBE-B636-2BEF-2A43-D594838E05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b="67224"/>
          <a:stretch/>
        </p:blipFill>
        <p:spPr>
          <a:xfrm>
            <a:off x="2575299" y="5997663"/>
            <a:ext cx="1138515" cy="50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310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os de vida, al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6" descr="SILO-LOGO_blanco_Mesa de trabajo 1.png">
            <a:extLst>
              <a:ext uri="{FF2B5EF4-FFF2-40B4-BE49-F238E27FC236}">
                <a16:creationId xmlns:a16="http://schemas.microsoft.com/office/drawing/2014/main" id="{80B44BAC-8E16-2FAC-51AC-5FC7923AC6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2773" y="379571"/>
            <a:ext cx="1311606" cy="731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A city with buildings and roads">
            <a:extLst>
              <a:ext uri="{FF2B5EF4-FFF2-40B4-BE49-F238E27FC236}">
                <a16:creationId xmlns:a16="http://schemas.microsoft.com/office/drawing/2014/main" id="{0034B69B-7E71-A415-7D1E-5C8B04D5F3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rcRect b="43747"/>
          <a:stretch/>
        </p:blipFill>
        <p:spPr>
          <a:xfrm>
            <a:off x="0" y="-1"/>
            <a:ext cx="12160250" cy="684053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2C0F3CB-BB81-7577-8A5C-0805C2B6C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0302" t="23027" r="38503" b="21250"/>
          <a:stretch/>
        </p:blipFill>
        <p:spPr>
          <a:xfrm>
            <a:off x="3761439" y="5997663"/>
            <a:ext cx="501152" cy="503544"/>
          </a:xfrm>
          <a:prstGeom prst="rect">
            <a:avLst/>
          </a:prstGeom>
        </p:spPr>
      </p:pic>
      <p:pic>
        <p:nvPicPr>
          <p:cNvPr id="8" name="Imagen 1">
            <a:extLst>
              <a:ext uri="{FF2B5EF4-FFF2-40B4-BE49-F238E27FC236}">
                <a16:creationId xmlns:a16="http://schemas.microsoft.com/office/drawing/2014/main" id="{D7B2AF82-826D-7556-5C26-478E0C0D4C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9618" y="5997663"/>
            <a:ext cx="1913613" cy="503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086A56E-7485-CBEF-B22A-5EAEEA697BE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310216" y="5997663"/>
            <a:ext cx="5681777" cy="503544"/>
          </a:xfrm>
          <a:prstGeom prst="rect">
            <a:avLst/>
          </a:prstGeom>
        </p:spPr>
      </p:pic>
      <p:pic>
        <p:nvPicPr>
          <p:cNvPr id="10" name="Imagen 6" descr="SILO-LOGO_blanco_Mesa de trabajo 1.png">
            <a:extLst>
              <a:ext uri="{FF2B5EF4-FFF2-40B4-BE49-F238E27FC236}">
                <a16:creationId xmlns:a16="http://schemas.microsoft.com/office/drawing/2014/main" id="{14D4A167-E48A-1F2B-63A1-04F2A0BA406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81" y="194279"/>
            <a:ext cx="663219" cy="370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40DB679-F77E-A6F5-E115-27ADA55B3B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b="67224"/>
          <a:stretch/>
        </p:blipFill>
        <p:spPr>
          <a:xfrm>
            <a:off x="2575299" y="5997663"/>
            <a:ext cx="1138515" cy="503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328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s-ES" noProof="1"/>
              <a:t>Haga clic para modificar el estilo de título del patrón</a:t>
            </a:r>
          </a:p>
        </p:txBody>
      </p:sp>
      <p:sp>
        <p:nvSpPr>
          <p:cNvPr id="3" name="Marcador de posición de contenido 2"/>
          <p:cNvSpPr>
            <a:spLocks noGrp="1"/>
          </p:cNvSpPr>
          <p:nvPr>
            <p:ph idx="1"/>
          </p:nvPr>
        </p:nvSpPr>
        <p:spPr/>
        <p:txBody>
          <a:bodyPr rtlCol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 rtl="0"/>
            <a:r>
              <a:rPr lang="es-ES" noProof="1"/>
              <a:t>Haga clic para modificar los estilos de texto del patrón</a:t>
            </a:r>
          </a:p>
          <a:p>
            <a:pPr lvl="1" rtl="0"/>
            <a:r>
              <a:rPr lang="es-ES" noProof="1"/>
              <a:t>Segundo nivel</a:t>
            </a:r>
          </a:p>
          <a:p>
            <a:pPr lvl="2" rtl="0"/>
            <a:r>
              <a:rPr lang="es-ES" noProof="1"/>
              <a:t>Tercer nivel</a:t>
            </a:r>
          </a:p>
          <a:p>
            <a:pPr lvl="3" rtl="0"/>
            <a:r>
              <a:rPr lang="es-ES" noProof="1"/>
              <a:t>Cuarto nivel</a:t>
            </a:r>
          </a:p>
          <a:p>
            <a:pPr lvl="4" rtl="0"/>
            <a:r>
              <a:rPr lang="es-ES" noProof="1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12E17447-CC61-4CB5-866E-30EC04D58B1F}" type="datetime1">
              <a:rPr lang="es-ES" noProof="1" smtClean="0"/>
              <a:t>11/12/2023</a:t>
            </a:fld>
            <a:endParaRPr lang="es-ES" noProof="1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s-ES" noProof="1"/>
          </a:p>
        </p:txBody>
      </p:sp>
      <p:sp>
        <p:nvSpPr>
          <p:cNvPr id="6" name="Marcador de posición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872B0A9C-A3C4-4EC1-BC31-166A00DBCF8C}" type="slidenum">
              <a:rPr lang="es-ES" noProof="1" dirty="0" smtClean="0"/>
              <a:t>‹Nº›</a:t>
            </a:fld>
            <a:endParaRPr lang="es-ES" noProof="1"/>
          </a:p>
        </p:txBody>
      </p:sp>
    </p:spTree>
    <p:extLst>
      <p:ext uri="{BB962C8B-B14F-4D97-AF65-F5344CB8AC3E}">
        <p14:creationId xmlns:p14="http://schemas.microsoft.com/office/powerpoint/2010/main" val="25361692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6017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ción de título 1"/>
          <p:cNvSpPr>
            <a:spLocks noGrp="1"/>
          </p:cNvSpPr>
          <p:nvPr>
            <p:ph type="title"/>
          </p:nvPr>
        </p:nvSpPr>
        <p:spPr>
          <a:xfrm>
            <a:off x="836018" y="364197"/>
            <a:ext cx="10488216" cy="1322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es-ES" noProof="1"/>
              <a:t>Haga clic para modificar el estilo de título del patrón</a:t>
            </a:r>
          </a:p>
        </p:txBody>
      </p:sp>
      <p:sp>
        <p:nvSpPr>
          <p:cNvPr id="3" name="Marcador de posición de texto 2"/>
          <p:cNvSpPr>
            <a:spLocks noGrp="1"/>
          </p:cNvSpPr>
          <p:nvPr>
            <p:ph type="body" idx="1"/>
          </p:nvPr>
        </p:nvSpPr>
        <p:spPr>
          <a:xfrm>
            <a:off x="836018" y="1820977"/>
            <a:ext cx="10488216" cy="43402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es-ES" noProof="1"/>
              <a:t>Haga clic para modificar los estilos de texto del patrón</a:t>
            </a:r>
          </a:p>
          <a:p>
            <a:pPr lvl="1" rtl="0"/>
            <a:r>
              <a:rPr lang="es-ES" noProof="1"/>
              <a:t>Segundo nivel</a:t>
            </a:r>
          </a:p>
          <a:p>
            <a:pPr lvl="2" rtl="0"/>
            <a:r>
              <a:rPr lang="es-ES" noProof="1"/>
              <a:t>Tercer nivel</a:t>
            </a:r>
          </a:p>
          <a:p>
            <a:pPr lvl="3" rtl="0"/>
            <a:r>
              <a:rPr lang="es-ES" noProof="1"/>
              <a:t>Cuarto nivel</a:t>
            </a:r>
          </a:p>
          <a:p>
            <a:pPr lvl="4" rtl="0"/>
            <a:r>
              <a:rPr lang="es-ES" noProof="1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6017" y="6340171"/>
            <a:ext cx="2736058" cy="3641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6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9408EDB8-3958-49D3-A35F-CF98CFD28352}" type="datetime1">
              <a:rPr lang="es-ES" noProof="1" smtClean="0"/>
              <a:t>11/12/2023</a:t>
            </a:fld>
            <a:endParaRPr lang="es-ES" noProof="1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28084" y="6340171"/>
            <a:ext cx="4104085" cy="3641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6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es-ES" noProof="1"/>
          </a:p>
        </p:txBody>
      </p:sp>
      <p:sp>
        <p:nvSpPr>
          <p:cNvPr id="6" name="Marcador de posición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588177" y="6340171"/>
            <a:ext cx="2736058" cy="36419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6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872B0A9C-A3C4-4EC1-BC31-166A00DBCF8C}" type="slidenum">
              <a:rPr lang="es-ES" noProof="1" dirty="0" smtClean="0"/>
              <a:t>‹Nº›</a:t>
            </a:fld>
            <a:endParaRPr lang="es-ES" noProof="1"/>
          </a:p>
        </p:txBody>
      </p:sp>
    </p:spTree>
    <p:extLst>
      <p:ext uri="{BB962C8B-B14F-4D97-AF65-F5344CB8AC3E}">
        <p14:creationId xmlns:p14="http://schemas.microsoft.com/office/powerpoint/2010/main" val="3264633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697" r:id="rId3"/>
    <p:sldLayoutId id="2147483686" r:id="rId4"/>
    <p:sldLayoutId id="2147483685" r:id="rId5"/>
  </p:sldLayoutIdLst>
  <p:hf sldNum="0" hdr="0" ftr="0" dt="0"/>
  <p:txStyles>
    <p:titleStyle>
      <a:lvl1pPr algn="l" defTabSz="504024" rtl="0" eaLnBrk="1" latinLnBrk="0" hangingPunct="1">
        <a:lnSpc>
          <a:spcPct val="90000"/>
        </a:lnSpc>
        <a:spcBef>
          <a:spcPct val="0"/>
        </a:spcBef>
        <a:buNone/>
        <a:defRPr sz="242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6006" indent="-126006" algn="l" defTabSz="504024" rtl="0" eaLnBrk="1" latinLnBrk="0" hangingPunct="1">
        <a:lnSpc>
          <a:spcPct val="90000"/>
        </a:lnSpc>
        <a:spcBef>
          <a:spcPts val="552"/>
        </a:spcBef>
        <a:buFont typeface="Arial" panose="020B0604020202020204" pitchFamily="34" charset="0"/>
        <a:buChar char="•"/>
        <a:defRPr sz="1544" kern="1200">
          <a:solidFill>
            <a:schemeClr val="tx1"/>
          </a:solidFill>
          <a:latin typeface="+mn-lt"/>
          <a:ea typeface="+mn-ea"/>
          <a:cs typeface="+mn-cs"/>
        </a:defRPr>
      </a:lvl1pPr>
      <a:lvl2pPr marL="378017" indent="-126006" algn="l" defTabSz="504024" rtl="0" eaLnBrk="1" latinLnBrk="0" hangingPunct="1">
        <a:lnSpc>
          <a:spcPct val="90000"/>
        </a:lnSpc>
        <a:spcBef>
          <a:spcPts val="275"/>
        </a:spcBef>
        <a:buFont typeface="Arial" panose="020B0604020202020204" pitchFamily="34" charset="0"/>
        <a:buChar char="•"/>
        <a:defRPr sz="1322" kern="1200">
          <a:solidFill>
            <a:schemeClr val="tx1"/>
          </a:solidFill>
          <a:latin typeface="+mn-lt"/>
          <a:ea typeface="+mn-ea"/>
          <a:cs typeface="+mn-cs"/>
        </a:defRPr>
      </a:lvl2pPr>
      <a:lvl3pPr marL="630030" indent="-126006" algn="l" defTabSz="504024" rtl="0" eaLnBrk="1" latinLnBrk="0" hangingPunct="1">
        <a:lnSpc>
          <a:spcPct val="90000"/>
        </a:lnSpc>
        <a:spcBef>
          <a:spcPts val="275"/>
        </a:spcBef>
        <a:buFont typeface="Arial" panose="020B0604020202020204" pitchFamily="34" charset="0"/>
        <a:buChar char="•"/>
        <a:defRPr sz="1102" kern="1200">
          <a:solidFill>
            <a:schemeClr val="tx1"/>
          </a:solidFill>
          <a:latin typeface="+mn-lt"/>
          <a:ea typeface="+mn-ea"/>
          <a:cs typeface="+mn-cs"/>
        </a:defRPr>
      </a:lvl3pPr>
      <a:lvl4pPr marL="882041" indent="-126006" algn="l" defTabSz="504024" rtl="0" eaLnBrk="1" latinLnBrk="0" hangingPunct="1">
        <a:lnSpc>
          <a:spcPct val="90000"/>
        </a:lnSpc>
        <a:spcBef>
          <a:spcPts val="275"/>
        </a:spcBef>
        <a:buFont typeface="Arial" panose="020B0604020202020204" pitchFamily="34" charset="0"/>
        <a:buChar char="•"/>
        <a:defRPr sz="992" kern="1200">
          <a:solidFill>
            <a:schemeClr val="tx1"/>
          </a:solidFill>
          <a:latin typeface="+mn-lt"/>
          <a:ea typeface="+mn-ea"/>
          <a:cs typeface="+mn-cs"/>
        </a:defRPr>
      </a:lvl4pPr>
      <a:lvl5pPr marL="1134053" indent="-126006" algn="l" defTabSz="504024" rtl="0" eaLnBrk="1" latinLnBrk="0" hangingPunct="1">
        <a:lnSpc>
          <a:spcPct val="90000"/>
        </a:lnSpc>
        <a:spcBef>
          <a:spcPts val="275"/>
        </a:spcBef>
        <a:buFont typeface="Arial" panose="020B0604020202020204" pitchFamily="34" charset="0"/>
        <a:buChar char="•"/>
        <a:defRPr sz="9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065" indent="-126006" algn="l" defTabSz="504024" rtl="0" eaLnBrk="1" latinLnBrk="0" hangingPunct="1">
        <a:lnSpc>
          <a:spcPct val="90000"/>
        </a:lnSpc>
        <a:spcBef>
          <a:spcPts val="275"/>
        </a:spcBef>
        <a:buFont typeface="Arial" panose="020B0604020202020204" pitchFamily="34" charset="0"/>
        <a:buChar char="•"/>
        <a:defRPr sz="992" kern="1200">
          <a:solidFill>
            <a:schemeClr val="tx1"/>
          </a:solidFill>
          <a:latin typeface="+mn-lt"/>
          <a:ea typeface="+mn-ea"/>
          <a:cs typeface="+mn-cs"/>
        </a:defRPr>
      </a:lvl6pPr>
      <a:lvl7pPr marL="1638077" indent="-126006" algn="l" defTabSz="504024" rtl="0" eaLnBrk="1" latinLnBrk="0" hangingPunct="1">
        <a:lnSpc>
          <a:spcPct val="90000"/>
        </a:lnSpc>
        <a:spcBef>
          <a:spcPts val="275"/>
        </a:spcBef>
        <a:buFont typeface="Arial" panose="020B0604020202020204" pitchFamily="34" charset="0"/>
        <a:buChar char="•"/>
        <a:defRPr sz="992" kern="1200">
          <a:solidFill>
            <a:schemeClr val="tx1"/>
          </a:solidFill>
          <a:latin typeface="+mn-lt"/>
          <a:ea typeface="+mn-ea"/>
          <a:cs typeface="+mn-cs"/>
        </a:defRPr>
      </a:lvl7pPr>
      <a:lvl8pPr marL="1890088" indent="-126006" algn="l" defTabSz="504024" rtl="0" eaLnBrk="1" latinLnBrk="0" hangingPunct="1">
        <a:lnSpc>
          <a:spcPct val="90000"/>
        </a:lnSpc>
        <a:spcBef>
          <a:spcPts val="275"/>
        </a:spcBef>
        <a:buFont typeface="Arial" panose="020B0604020202020204" pitchFamily="34" charset="0"/>
        <a:buChar char="•"/>
        <a:defRPr sz="992" kern="1200">
          <a:solidFill>
            <a:schemeClr val="tx1"/>
          </a:solidFill>
          <a:latin typeface="+mn-lt"/>
          <a:ea typeface="+mn-ea"/>
          <a:cs typeface="+mn-cs"/>
        </a:defRPr>
      </a:lvl8pPr>
      <a:lvl9pPr marL="2142101" indent="-126006" algn="l" defTabSz="504024" rtl="0" eaLnBrk="1" latinLnBrk="0" hangingPunct="1">
        <a:lnSpc>
          <a:spcPct val="90000"/>
        </a:lnSpc>
        <a:spcBef>
          <a:spcPts val="275"/>
        </a:spcBef>
        <a:buFont typeface="Arial" panose="020B0604020202020204" pitchFamily="34" charset="0"/>
        <a:buChar char="•"/>
        <a:defRPr sz="9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04024" rtl="0" eaLnBrk="1" latinLnBrk="0" hangingPunct="1">
        <a:defRPr sz="992" kern="1200">
          <a:solidFill>
            <a:schemeClr val="tx1"/>
          </a:solidFill>
          <a:latin typeface="+mn-lt"/>
          <a:ea typeface="+mn-ea"/>
          <a:cs typeface="+mn-cs"/>
        </a:defRPr>
      </a:lvl1pPr>
      <a:lvl2pPr marL="252012" algn="l" defTabSz="504024" rtl="0" eaLnBrk="1" latinLnBrk="0" hangingPunct="1">
        <a:defRPr sz="992" kern="1200">
          <a:solidFill>
            <a:schemeClr val="tx1"/>
          </a:solidFill>
          <a:latin typeface="+mn-lt"/>
          <a:ea typeface="+mn-ea"/>
          <a:cs typeface="+mn-cs"/>
        </a:defRPr>
      </a:lvl2pPr>
      <a:lvl3pPr marL="504024" algn="l" defTabSz="504024" rtl="0" eaLnBrk="1" latinLnBrk="0" hangingPunct="1">
        <a:defRPr sz="992" kern="1200">
          <a:solidFill>
            <a:schemeClr val="tx1"/>
          </a:solidFill>
          <a:latin typeface="+mn-lt"/>
          <a:ea typeface="+mn-ea"/>
          <a:cs typeface="+mn-cs"/>
        </a:defRPr>
      </a:lvl3pPr>
      <a:lvl4pPr marL="756036" algn="l" defTabSz="504024" rtl="0" eaLnBrk="1" latinLnBrk="0" hangingPunct="1">
        <a:defRPr sz="992" kern="1200">
          <a:solidFill>
            <a:schemeClr val="tx1"/>
          </a:solidFill>
          <a:latin typeface="+mn-lt"/>
          <a:ea typeface="+mn-ea"/>
          <a:cs typeface="+mn-cs"/>
        </a:defRPr>
      </a:lvl4pPr>
      <a:lvl5pPr marL="1008047" algn="l" defTabSz="504024" rtl="0" eaLnBrk="1" latinLnBrk="0" hangingPunct="1">
        <a:defRPr sz="992" kern="1200">
          <a:solidFill>
            <a:schemeClr val="tx1"/>
          </a:solidFill>
          <a:latin typeface="+mn-lt"/>
          <a:ea typeface="+mn-ea"/>
          <a:cs typeface="+mn-cs"/>
        </a:defRPr>
      </a:lvl5pPr>
      <a:lvl6pPr marL="1260060" algn="l" defTabSz="504024" rtl="0" eaLnBrk="1" latinLnBrk="0" hangingPunct="1">
        <a:defRPr sz="992" kern="1200">
          <a:solidFill>
            <a:schemeClr val="tx1"/>
          </a:solidFill>
          <a:latin typeface="+mn-lt"/>
          <a:ea typeface="+mn-ea"/>
          <a:cs typeface="+mn-cs"/>
        </a:defRPr>
      </a:lvl6pPr>
      <a:lvl7pPr marL="1512071" algn="l" defTabSz="504024" rtl="0" eaLnBrk="1" latinLnBrk="0" hangingPunct="1">
        <a:defRPr sz="992" kern="1200">
          <a:solidFill>
            <a:schemeClr val="tx1"/>
          </a:solidFill>
          <a:latin typeface="+mn-lt"/>
          <a:ea typeface="+mn-ea"/>
          <a:cs typeface="+mn-cs"/>
        </a:defRPr>
      </a:lvl7pPr>
      <a:lvl8pPr marL="1764083" algn="l" defTabSz="504024" rtl="0" eaLnBrk="1" latinLnBrk="0" hangingPunct="1">
        <a:defRPr sz="992" kern="1200">
          <a:solidFill>
            <a:schemeClr val="tx1"/>
          </a:solidFill>
          <a:latin typeface="+mn-lt"/>
          <a:ea typeface="+mn-ea"/>
          <a:cs typeface="+mn-cs"/>
        </a:defRPr>
      </a:lvl8pPr>
      <a:lvl9pPr marL="2016095" algn="l" defTabSz="504024" rtl="0" eaLnBrk="1" latinLnBrk="0" hangingPunct="1">
        <a:defRPr sz="9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cid:image001.png@01D8F533.7429BFE0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sede.madrid.es/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F91FC67-07F5-6A89-747D-C948E97B7C21}"/>
              </a:ext>
            </a:extLst>
          </p:cNvPr>
          <p:cNvSpPr txBox="1"/>
          <p:nvPr/>
        </p:nvSpPr>
        <p:spPr>
          <a:xfrm>
            <a:off x="9464581" y="6471206"/>
            <a:ext cx="26956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</a:rPr>
              <a:t>12 de diciembre de 202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D7A309-4007-8CCE-3FAA-44DBD02B8E89}"/>
              </a:ext>
            </a:extLst>
          </p:cNvPr>
          <p:cNvSpPr txBox="1"/>
          <p:nvPr/>
        </p:nvSpPr>
        <p:spPr>
          <a:xfrm>
            <a:off x="1600200" y="-269756"/>
            <a:ext cx="12160250" cy="3908762"/>
          </a:xfrm>
          <a:prstGeom prst="rect">
            <a:avLst/>
          </a:prstGeom>
          <a:solidFill>
            <a:srgbClr val="D7EFF5">
              <a:alpha val="70980"/>
            </a:srgbClr>
          </a:solidFill>
        </p:spPr>
        <p:txBody>
          <a:bodyPr wrap="square">
            <a:spAutoFit/>
          </a:bodyPr>
          <a:lstStyle/>
          <a:p>
            <a:pPr algn="ctr" defTabSz="414338">
              <a:spcBef>
                <a:spcPts val="199"/>
              </a:spcBef>
              <a:tabLst>
                <a:tab pos="9505950" algn="l"/>
                <a:tab pos="10496550" algn="l"/>
                <a:tab pos="10763250" algn="l"/>
                <a:tab pos="10848975" algn="l"/>
              </a:tabLst>
            </a:pPr>
            <a:r>
              <a:rPr lang="es-E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sulta Preliminar del Mercado del proyecto de </a:t>
            </a:r>
          </a:p>
          <a:p>
            <a:pPr marL="1076325" algn="ctr" defTabSz="414338">
              <a:spcBef>
                <a:spcPts val="199"/>
              </a:spcBef>
              <a:tabLst>
                <a:tab pos="9505950" algn="l"/>
                <a:tab pos="10496550" algn="l"/>
                <a:tab pos="10763250" algn="l"/>
                <a:tab pos="10848975" algn="l"/>
              </a:tabLst>
            </a:pPr>
            <a:r>
              <a:rPr lang="es-E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pra Pública de Innovación:</a:t>
            </a:r>
          </a:p>
          <a:p>
            <a:pPr marL="1076325">
              <a:spcBef>
                <a:spcPts val="199"/>
              </a:spcBef>
              <a:tabLst>
                <a:tab pos="10763250" algn="l"/>
              </a:tabLst>
            </a:pPr>
            <a:endParaRPr lang="es-ES" sz="11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076325" algn="ctr">
              <a:spcBef>
                <a:spcPts val="199"/>
              </a:spcBef>
              <a:tabLst>
                <a:tab pos="10763250" algn="l"/>
              </a:tabLst>
            </a:pPr>
            <a:r>
              <a:rPr lang="es-ES" sz="2800" b="1" dirty="0">
                <a:latin typeface="Montserrat" panose="00000500000000000000" pitchFamily="2" charset="0"/>
              </a:rPr>
              <a:t>AUTOMATIZACIÓN DE LA TRAMITACIÓN DE </a:t>
            </a:r>
          </a:p>
          <a:p>
            <a:pPr marL="1076325" algn="ctr">
              <a:spcBef>
                <a:spcPts val="199"/>
              </a:spcBef>
              <a:tabLst>
                <a:tab pos="10763250" algn="l"/>
              </a:tabLst>
            </a:pPr>
            <a:r>
              <a:rPr lang="es-ES" sz="2800" b="1" dirty="0">
                <a:latin typeface="Montserrat" panose="00000500000000000000" pitchFamily="2" charset="0"/>
              </a:rPr>
              <a:t>LOS MEDIOS DE INTERVENCIÓN </a:t>
            </a:r>
          </a:p>
          <a:p>
            <a:pPr marL="1076325" algn="ctr">
              <a:spcBef>
                <a:spcPts val="199"/>
              </a:spcBef>
              <a:tabLst>
                <a:tab pos="10763250" algn="l"/>
              </a:tabLst>
            </a:pPr>
            <a:r>
              <a:rPr lang="es-ES" sz="2800" b="1" dirty="0">
                <a:latin typeface="Montserrat" panose="00000500000000000000" pitchFamily="2" charset="0"/>
              </a:rPr>
              <a:t>URBANÍSTICA MUNICIPAL</a:t>
            </a:r>
          </a:p>
          <a:p>
            <a:pPr marL="1076325" algn="ctr">
              <a:spcBef>
                <a:spcPts val="199"/>
              </a:spcBef>
              <a:tabLst>
                <a:tab pos="10763250" algn="l"/>
              </a:tabLst>
            </a:pPr>
            <a:endParaRPr lang="es-ES" sz="1050" b="1" dirty="0">
              <a:latin typeface="Montserrat" panose="000005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076325" algn="ctr">
              <a:spcBef>
                <a:spcPts val="199"/>
              </a:spcBef>
              <a:tabLst>
                <a:tab pos="10763250" algn="l"/>
              </a:tabLst>
            </a:pPr>
            <a:r>
              <a:rPr lang="es-ES" sz="2400" b="1" cap="small" dirty="0">
                <a:solidFill>
                  <a:srgbClr val="0000FF"/>
                </a:solidFill>
                <a:latin typeface="Montserrat" panose="00000500000000000000" pitchFamily="2" charset="0"/>
              </a:rPr>
              <a:t>Presentación de la iniciativa de CPI. </a:t>
            </a:r>
          </a:p>
          <a:p>
            <a:pPr marL="1076325" algn="ctr">
              <a:spcBef>
                <a:spcPts val="199"/>
              </a:spcBef>
              <a:tabLst>
                <a:tab pos="10763250" algn="l"/>
              </a:tabLst>
            </a:pPr>
            <a:r>
              <a:rPr lang="es-ES" sz="2400" b="1" cap="small" dirty="0">
                <a:solidFill>
                  <a:srgbClr val="0000FF"/>
                </a:solidFill>
                <a:latin typeface="Montserrat" panose="00000500000000000000" pitchFamily="2" charset="0"/>
              </a:rPr>
              <a:t>Cómo participar en la </a:t>
            </a:r>
          </a:p>
          <a:p>
            <a:pPr marL="1076325" algn="ctr">
              <a:spcBef>
                <a:spcPts val="199"/>
              </a:spcBef>
              <a:tabLst>
                <a:tab pos="10763250" algn="l"/>
              </a:tabLst>
            </a:pPr>
            <a:r>
              <a:rPr lang="es-ES" sz="2400" b="1" cap="small" dirty="0">
                <a:solidFill>
                  <a:srgbClr val="0000FF"/>
                </a:solidFill>
                <a:latin typeface="Montserrat" panose="00000500000000000000" pitchFamily="2" charset="0"/>
              </a:rPr>
              <a:t>Consulta Preliminar al Mercado</a:t>
            </a:r>
            <a:endParaRPr lang="es-ES" sz="2800" cap="small" dirty="0"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194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adroTexto 15">
            <a:extLst>
              <a:ext uri="{FF2B5EF4-FFF2-40B4-BE49-F238E27FC236}">
                <a16:creationId xmlns:a16="http://schemas.microsoft.com/office/drawing/2014/main" id="{C7DA380F-EAEC-4BE8-BA43-977CAD9EAF52}"/>
              </a:ext>
            </a:extLst>
          </p:cNvPr>
          <p:cNvSpPr txBox="1"/>
          <p:nvPr/>
        </p:nvSpPr>
        <p:spPr>
          <a:xfrm>
            <a:off x="2035746" y="225458"/>
            <a:ext cx="5069016" cy="644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rtl="0">
              <a:defRPr lang="es-es"/>
            </a:defPPr>
            <a:lvl1pPr defTabSz="912023" fontAlgn="base">
              <a:spcBef>
                <a:spcPct val="0"/>
              </a:spcBef>
              <a:spcAft>
                <a:spcPct val="0"/>
              </a:spcAft>
              <a:defRPr sz="359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s-ES" dirty="0"/>
              <a:t>Participación en la CPM</a:t>
            </a:r>
          </a:p>
        </p:txBody>
      </p:sp>
      <p:grpSp>
        <p:nvGrpSpPr>
          <p:cNvPr id="39" name="Grupo 38">
            <a:extLst>
              <a:ext uri="{FF2B5EF4-FFF2-40B4-BE49-F238E27FC236}">
                <a16:creationId xmlns:a16="http://schemas.microsoft.com/office/drawing/2014/main" id="{0E3C48D4-C2B4-4E94-9B74-9E2138451D5D}"/>
              </a:ext>
            </a:extLst>
          </p:cNvPr>
          <p:cNvGrpSpPr/>
          <p:nvPr/>
        </p:nvGrpSpPr>
        <p:grpSpPr>
          <a:xfrm>
            <a:off x="386364" y="1598287"/>
            <a:ext cx="10804696" cy="1031558"/>
            <a:chOff x="1551555" y="4160430"/>
            <a:chExt cx="8486043" cy="1042317"/>
          </a:xfrm>
        </p:grpSpPr>
        <p:grpSp>
          <p:nvGrpSpPr>
            <p:cNvPr id="73" name="Grupo 72">
              <a:extLst>
                <a:ext uri="{FF2B5EF4-FFF2-40B4-BE49-F238E27FC236}">
                  <a16:creationId xmlns:a16="http://schemas.microsoft.com/office/drawing/2014/main" id="{3C5ADD37-D081-4A6D-AEB1-A22330AB43BF}"/>
                </a:ext>
              </a:extLst>
            </p:cNvPr>
            <p:cNvGrpSpPr/>
            <p:nvPr/>
          </p:nvGrpSpPr>
          <p:grpSpPr>
            <a:xfrm>
              <a:off x="1551555" y="4174185"/>
              <a:ext cx="2540222" cy="1028562"/>
              <a:chOff x="2976895" y="2012756"/>
              <a:chExt cx="2540222" cy="1028562"/>
            </a:xfrm>
          </p:grpSpPr>
          <p:sp>
            <p:nvSpPr>
              <p:cNvPr id="82" name="Rectángulo 81">
                <a:extLst>
                  <a:ext uri="{FF2B5EF4-FFF2-40B4-BE49-F238E27FC236}">
                    <a16:creationId xmlns:a16="http://schemas.microsoft.com/office/drawing/2014/main" id="{78AAB63D-BB4A-427B-963A-766069092487}"/>
                  </a:ext>
                </a:extLst>
              </p:cNvPr>
              <p:cNvSpPr/>
              <p:nvPr/>
            </p:nvSpPr>
            <p:spPr>
              <a:xfrm>
                <a:off x="2976895" y="2012756"/>
                <a:ext cx="857465" cy="907019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313B4A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6000">
                  <a:defRPr/>
                </a:pPr>
                <a:endParaRPr lang="es-ES" sz="2394" kern="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83" name="CuadroTexto 82">
                <a:extLst>
                  <a:ext uri="{FF2B5EF4-FFF2-40B4-BE49-F238E27FC236}">
                    <a16:creationId xmlns:a16="http://schemas.microsoft.com/office/drawing/2014/main" id="{57A710B3-6C73-4AB5-944F-132348C2B9F9}"/>
                  </a:ext>
                </a:extLst>
              </p:cNvPr>
              <p:cNvSpPr txBox="1"/>
              <p:nvPr/>
            </p:nvSpPr>
            <p:spPr>
              <a:xfrm>
                <a:off x="3325723" y="2017525"/>
                <a:ext cx="381730" cy="102379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1216000">
                  <a:defRPr/>
                </a:pPr>
                <a:r>
                  <a:rPr lang="es-ES" sz="5984" b="1" kern="0" dirty="0">
                    <a:latin typeface="Montserrat" panose="00000500000000000000" pitchFamily="2" charset="0"/>
                    <a:cs typeface="Century Gothic"/>
                  </a:rPr>
                  <a:t>1</a:t>
                </a:r>
              </a:p>
            </p:txBody>
          </p:sp>
          <p:sp>
            <p:nvSpPr>
              <p:cNvPr id="84" name="Forma libre: forma 6">
                <a:extLst>
                  <a:ext uri="{FF2B5EF4-FFF2-40B4-BE49-F238E27FC236}">
                    <a16:creationId xmlns:a16="http://schemas.microsoft.com/office/drawing/2014/main" id="{0FBE130E-D8B7-43E9-9D87-1FD0F03177C7}"/>
                  </a:ext>
                </a:extLst>
              </p:cNvPr>
              <p:cNvSpPr/>
              <p:nvPr/>
            </p:nvSpPr>
            <p:spPr>
              <a:xfrm>
                <a:off x="3897288" y="2135251"/>
                <a:ext cx="1619829" cy="407387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spcFirstLastPara="0" vert="horz" wrap="square" lIns="71813" tIns="17248" rIns="35906" bIns="17248" numCol="1" spcCol="1270" anchor="t" anchorCtr="0">
                <a:noAutofit/>
              </a:bodyPr>
              <a:lstStyle/>
              <a:p>
                <a:pPr defTabSz="532013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es-ES" sz="1596" kern="0" dirty="0">
                    <a:latin typeface="Montserrat" panose="00000500000000000000" pitchFamily="2" charset="0"/>
                  </a:rPr>
                  <a:t>Convocatoria abierta</a:t>
                </a:r>
              </a:p>
            </p:txBody>
          </p:sp>
        </p:grpSp>
        <p:grpSp>
          <p:nvGrpSpPr>
            <p:cNvPr id="74" name="Grupo 73">
              <a:extLst>
                <a:ext uri="{FF2B5EF4-FFF2-40B4-BE49-F238E27FC236}">
                  <a16:creationId xmlns:a16="http://schemas.microsoft.com/office/drawing/2014/main" id="{5964BCC1-F5E3-4391-919D-8C464D7EE600}"/>
                </a:ext>
              </a:extLst>
            </p:cNvPr>
            <p:cNvGrpSpPr/>
            <p:nvPr/>
          </p:nvGrpSpPr>
          <p:grpSpPr>
            <a:xfrm>
              <a:off x="4211141" y="4174184"/>
              <a:ext cx="2659586" cy="1023794"/>
              <a:chOff x="3116334" y="2012755"/>
              <a:chExt cx="2659586" cy="1023794"/>
            </a:xfrm>
          </p:grpSpPr>
          <p:sp>
            <p:nvSpPr>
              <p:cNvPr id="79" name="Rectángulo 78">
                <a:extLst>
                  <a:ext uri="{FF2B5EF4-FFF2-40B4-BE49-F238E27FC236}">
                    <a16:creationId xmlns:a16="http://schemas.microsoft.com/office/drawing/2014/main" id="{E39F1A6A-9898-4450-AA42-7DB57E045C7C}"/>
                  </a:ext>
                </a:extLst>
              </p:cNvPr>
              <p:cNvSpPr/>
              <p:nvPr/>
            </p:nvSpPr>
            <p:spPr>
              <a:xfrm>
                <a:off x="3116334" y="2012756"/>
                <a:ext cx="857465" cy="907019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313B4A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6000">
                  <a:defRPr/>
                </a:pPr>
                <a:endParaRPr lang="es-ES" sz="2394" kern="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80" name="CuadroTexto 79">
                <a:extLst>
                  <a:ext uri="{FF2B5EF4-FFF2-40B4-BE49-F238E27FC236}">
                    <a16:creationId xmlns:a16="http://schemas.microsoft.com/office/drawing/2014/main" id="{ECC521A2-79DA-491D-97CD-63150274409E}"/>
                  </a:ext>
                </a:extLst>
              </p:cNvPr>
              <p:cNvSpPr txBox="1"/>
              <p:nvPr/>
            </p:nvSpPr>
            <p:spPr>
              <a:xfrm>
                <a:off x="3501281" y="2012755"/>
                <a:ext cx="500076" cy="10237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1216000">
                  <a:defRPr/>
                </a:pPr>
                <a:r>
                  <a:rPr lang="es-ES" sz="5984" b="1" kern="0" dirty="0">
                    <a:latin typeface="Montserrat" panose="00000500000000000000" pitchFamily="2" charset="0"/>
                    <a:cs typeface="Century Gothic"/>
                  </a:rPr>
                  <a:t>2</a:t>
                </a:r>
              </a:p>
            </p:txBody>
          </p:sp>
          <p:sp>
            <p:nvSpPr>
              <p:cNvPr id="81" name="Forma libre: forma 6">
                <a:extLst>
                  <a:ext uri="{FF2B5EF4-FFF2-40B4-BE49-F238E27FC236}">
                    <a16:creationId xmlns:a16="http://schemas.microsoft.com/office/drawing/2014/main" id="{5598E8F6-9AAC-4B3B-83A6-A9F13C49E720}"/>
                  </a:ext>
                </a:extLst>
              </p:cNvPr>
              <p:cNvSpPr/>
              <p:nvPr/>
            </p:nvSpPr>
            <p:spPr>
              <a:xfrm>
                <a:off x="4028626" y="2111666"/>
                <a:ext cx="1747294" cy="407387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spcFirstLastPara="0" vert="horz" wrap="square" lIns="71813" tIns="17248" rIns="35906" bIns="17248" numCol="1" spcCol="1270" anchor="t" anchorCtr="0">
                <a:noAutofit/>
              </a:bodyPr>
              <a:lstStyle/>
              <a:p>
                <a:pPr defTabSz="532013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es-ES" sz="1596" kern="0" dirty="0">
                    <a:latin typeface="Montserrat" panose="00000500000000000000" pitchFamily="2" charset="0"/>
                  </a:rPr>
                  <a:t>Personas físicas o jurídicas, públicas o privadas</a:t>
                </a:r>
              </a:p>
            </p:txBody>
          </p:sp>
        </p:grpSp>
        <p:grpSp>
          <p:nvGrpSpPr>
            <p:cNvPr id="75" name="Grupo 74">
              <a:extLst>
                <a:ext uri="{FF2B5EF4-FFF2-40B4-BE49-F238E27FC236}">
                  <a16:creationId xmlns:a16="http://schemas.microsoft.com/office/drawing/2014/main" id="{3551A305-773B-47FE-B3E7-3EE55B334A93}"/>
                </a:ext>
              </a:extLst>
            </p:cNvPr>
            <p:cNvGrpSpPr/>
            <p:nvPr/>
          </p:nvGrpSpPr>
          <p:grpSpPr>
            <a:xfrm>
              <a:off x="6954202" y="4160430"/>
              <a:ext cx="3083396" cy="1023794"/>
              <a:chOff x="3576877" y="1999001"/>
              <a:chExt cx="3083396" cy="1023794"/>
            </a:xfrm>
          </p:grpSpPr>
          <p:sp>
            <p:nvSpPr>
              <p:cNvPr id="76" name="Forma libre: forma 6">
                <a:extLst>
                  <a:ext uri="{FF2B5EF4-FFF2-40B4-BE49-F238E27FC236}">
                    <a16:creationId xmlns:a16="http://schemas.microsoft.com/office/drawing/2014/main" id="{8E5E613E-68FB-4459-A5F8-D01ABD90EC43}"/>
                  </a:ext>
                </a:extLst>
              </p:cNvPr>
              <p:cNvSpPr/>
              <p:nvPr/>
            </p:nvSpPr>
            <p:spPr>
              <a:xfrm>
                <a:off x="4460692" y="2081991"/>
                <a:ext cx="2199581" cy="407387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spcFirstLastPara="0" vert="horz" wrap="square" lIns="71813" tIns="17248" rIns="35906" bIns="17248" numCol="1" spcCol="1270" anchor="t" anchorCtr="0">
                <a:noAutofit/>
              </a:bodyPr>
              <a:lstStyle/>
              <a:p>
                <a:pPr defTabSz="532013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r>
                  <a:rPr lang="es-ES" sz="1596" kern="0" dirty="0">
                    <a:latin typeface="Montserrat" panose="00000500000000000000" pitchFamily="2" charset="0"/>
                  </a:rPr>
                  <a:t>Se admitirá la presentación de varias propuestas, de forma individual o conjunta</a:t>
                </a:r>
              </a:p>
            </p:txBody>
          </p:sp>
          <p:sp>
            <p:nvSpPr>
              <p:cNvPr id="77" name="Rectángulo 76">
                <a:extLst>
                  <a:ext uri="{FF2B5EF4-FFF2-40B4-BE49-F238E27FC236}">
                    <a16:creationId xmlns:a16="http://schemas.microsoft.com/office/drawing/2014/main" id="{628E64B3-4F1F-4FB4-897B-4BF06D1D2DD7}"/>
                  </a:ext>
                </a:extLst>
              </p:cNvPr>
              <p:cNvSpPr/>
              <p:nvPr/>
            </p:nvSpPr>
            <p:spPr>
              <a:xfrm>
                <a:off x="3576877" y="2012755"/>
                <a:ext cx="857465" cy="907019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solidFill>
                  <a:srgbClr val="313B4A">
                    <a:lumMod val="60000"/>
                    <a:lumOff val="4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6000">
                  <a:defRPr/>
                </a:pPr>
                <a:endParaRPr lang="es-ES" sz="2394" kern="0">
                  <a:solidFill>
                    <a:schemeClr val="bg1"/>
                  </a:solidFill>
                  <a:latin typeface="Montserrat" panose="00000500000000000000" pitchFamily="2" charset="0"/>
                </a:endParaRPr>
              </a:p>
            </p:txBody>
          </p:sp>
          <p:sp>
            <p:nvSpPr>
              <p:cNvPr id="78" name="CuadroTexto 77">
                <a:extLst>
                  <a:ext uri="{FF2B5EF4-FFF2-40B4-BE49-F238E27FC236}">
                    <a16:creationId xmlns:a16="http://schemas.microsoft.com/office/drawing/2014/main" id="{53AEF2E4-5E05-4062-B628-D21814C9B026}"/>
                  </a:ext>
                </a:extLst>
              </p:cNvPr>
              <p:cNvSpPr txBox="1"/>
              <p:nvPr/>
            </p:nvSpPr>
            <p:spPr>
              <a:xfrm>
                <a:off x="3963247" y="1999001"/>
                <a:ext cx="501335" cy="102379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1216000">
                  <a:defRPr/>
                </a:pPr>
                <a:r>
                  <a:rPr lang="es-ES" sz="5984" b="1" kern="0" dirty="0">
                    <a:latin typeface="Montserrat" panose="00000500000000000000" pitchFamily="2" charset="0"/>
                    <a:cs typeface="Century Gothic"/>
                  </a:rPr>
                  <a:t>3</a:t>
                </a:r>
              </a:p>
            </p:txBody>
          </p:sp>
        </p:grpSp>
      </p:grpSp>
      <p:sp>
        <p:nvSpPr>
          <p:cNvPr id="40" name="Marcador de contenido 2">
            <a:extLst>
              <a:ext uri="{FF2B5EF4-FFF2-40B4-BE49-F238E27FC236}">
                <a16:creationId xmlns:a16="http://schemas.microsoft.com/office/drawing/2014/main" id="{C712716D-4C7C-4C8E-B519-E7856E682ACC}"/>
              </a:ext>
            </a:extLst>
          </p:cNvPr>
          <p:cNvSpPr txBox="1">
            <a:spLocks/>
          </p:cNvSpPr>
          <p:nvPr/>
        </p:nvSpPr>
        <p:spPr>
          <a:xfrm>
            <a:off x="327380" y="2810748"/>
            <a:ext cx="11441443" cy="503882"/>
          </a:xfrm>
          <a:prstGeom prst="rect">
            <a:avLst/>
          </a:prstGeom>
        </p:spPr>
        <p:txBody>
          <a:bodyPr vert="horz" lIns="106972" tIns="53483" rIns="106972" bIns="53483" rtlCol="0">
            <a:normAutofit/>
          </a:bodyPr>
          <a:lstStyle>
            <a:defPPr>
              <a:defRPr lang="es-ES"/>
            </a:defPPr>
            <a:lvl1pPr marR="0" lvl="0" indent="0" algn="just" defTabSz="1072499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13B4A"/>
              </a:buClr>
              <a:buSzTx/>
              <a:buFont typeface="Wingdings" pitchFamily="2" charset="2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Bahnschrift SemiBold" panose="020B0502040204020203" pitchFamily="34" charset="0"/>
                <a:cs typeface="Arial" panose="020B0604020202020204" pitchFamily="34" charset="0"/>
              </a:defRPr>
            </a:lvl1pPr>
            <a:lvl2pPr marL="335155" indent="-335155" algn="just" defTabSz="1072499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400"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34936" indent="-268125" algn="just" defTabSz="1072499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47747" indent="-268125" algn="just" defTabSz="1072499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100" b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60561" indent="-268125" algn="just" defTabSz="1072499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900" b="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949373" indent="-268125" defTabSz="1072499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485623" indent="-268125" defTabSz="1072499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4021873" indent="-268125" defTabSz="1072499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558123" indent="-268125" defTabSz="1072499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es-ES_tradnl" sz="1596" b="1" dirty="0">
                <a:solidFill>
                  <a:schemeClr val="tx1"/>
                </a:solidFill>
                <a:latin typeface="Montserrat" panose="00000500000000000000" pitchFamily="2" charset="0"/>
              </a:rPr>
              <a:t>¿Cómo participar?</a:t>
            </a:r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578E4530-9487-415B-8BE4-52CC0B7DE901}"/>
              </a:ext>
            </a:extLst>
          </p:cNvPr>
          <p:cNvGrpSpPr/>
          <p:nvPr/>
        </p:nvGrpSpPr>
        <p:grpSpPr>
          <a:xfrm>
            <a:off x="418539" y="3247617"/>
            <a:ext cx="10902082" cy="1883242"/>
            <a:chOff x="1651498" y="2573540"/>
            <a:chExt cx="6603001" cy="2580979"/>
          </a:xfrm>
        </p:grpSpPr>
        <p:sp>
          <p:nvSpPr>
            <p:cNvPr id="43" name="Rectángulo: esquinas redondeadas 42">
              <a:extLst>
                <a:ext uri="{FF2B5EF4-FFF2-40B4-BE49-F238E27FC236}">
                  <a16:creationId xmlns:a16="http://schemas.microsoft.com/office/drawing/2014/main" id="{0C5B12C6-98D9-4E5A-97B6-D674E553070C}"/>
                </a:ext>
              </a:extLst>
            </p:cNvPr>
            <p:cNvSpPr/>
            <p:nvPr/>
          </p:nvSpPr>
          <p:spPr>
            <a:xfrm rot="16200000">
              <a:off x="1436417" y="2788622"/>
              <a:ext cx="2580978" cy="2150815"/>
            </a:xfrm>
            <a:prstGeom prst="roundRect">
              <a:avLst>
                <a:gd name="adj" fmla="val 7218"/>
              </a:avLst>
            </a:prstGeom>
            <a:solidFill>
              <a:schemeClr val="tx1">
                <a:lumMod val="95000"/>
                <a:lumOff val="5000"/>
              </a:schemeClr>
            </a:solidFill>
            <a:ln w="25400" cap="flat" cmpd="sng" algn="ctr">
              <a:solidFill>
                <a:srgbClr val="0000FF"/>
              </a:solidFill>
              <a:prstDash val="solid"/>
            </a:ln>
            <a:effectLst/>
          </p:spPr>
          <p:txBody>
            <a:bodyPr spcFirstLastPara="0" vert="horz" wrap="square" lIns="35906" tIns="68402" rIns="88669" bIns="1716170" numCol="1" spcCol="1270" anchor="t" anchorCtr="0">
              <a:noAutofit/>
            </a:bodyPr>
            <a:lstStyle/>
            <a:p>
              <a:pPr algn="r" defTabSz="886689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1396" b="1" kern="0" dirty="0">
                  <a:solidFill>
                    <a:schemeClr val="bg1"/>
                  </a:solidFill>
                  <a:latin typeface="Montserrat" panose="00000500000000000000" pitchFamily="2" charset="0"/>
                </a:rPr>
                <a:t>PRESENTACIÓN</a:t>
              </a:r>
            </a:p>
          </p:txBody>
        </p:sp>
        <p:sp>
          <p:nvSpPr>
            <p:cNvPr id="44" name="Forma libre: forma 43">
              <a:extLst>
                <a:ext uri="{FF2B5EF4-FFF2-40B4-BE49-F238E27FC236}">
                  <a16:creationId xmlns:a16="http://schemas.microsoft.com/office/drawing/2014/main" id="{8C75E3C5-CCF9-4783-859B-5D388A82A552}"/>
                </a:ext>
              </a:extLst>
            </p:cNvPr>
            <p:cNvSpPr/>
            <p:nvPr/>
          </p:nvSpPr>
          <p:spPr>
            <a:xfrm>
              <a:off x="1939950" y="2573541"/>
              <a:ext cx="1744068" cy="2580977"/>
            </a:xfrm>
            <a:custGeom>
              <a:avLst/>
              <a:gdLst>
                <a:gd name="connsiteX0" fmla="*/ 0 w 1602356"/>
                <a:gd name="connsiteY0" fmla="*/ 0 h 2580977"/>
                <a:gd name="connsiteX1" fmla="*/ 1602356 w 1602356"/>
                <a:gd name="connsiteY1" fmla="*/ 0 h 2580977"/>
                <a:gd name="connsiteX2" fmla="*/ 1602356 w 1602356"/>
                <a:gd name="connsiteY2" fmla="*/ 2580977 h 2580977"/>
                <a:gd name="connsiteX3" fmla="*/ 0 w 1602356"/>
                <a:gd name="connsiteY3" fmla="*/ 2580977 h 2580977"/>
                <a:gd name="connsiteX4" fmla="*/ 0 w 1602356"/>
                <a:gd name="connsiteY4" fmla="*/ 0 h 2580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2356" h="2580977">
                  <a:moveTo>
                    <a:pt x="0" y="0"/>
                  </a:moveTo>
                  <a:lnTo>
                    <a:pt x="1602356" y="0"/>
                  </a:lnTo>
                  <a:lnTo>
                    <a:pt x="1602356" y="2580977"/>
                  </a:lnTo>
                  <a:lnTo>
                    <a:pt x="0" y="258097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 cmpd="sng" algn="ctr">
              <a:noFill/>
              <a:prstDash val="solid"/>
            </a:ln>
            <a:effectLst/>
            <a:sp3d/>
          </p:spPr>
          <p:txBody>
            <a:bodyPr spcFirstLastPara="0" vert="horz" wrap="square" lIns="0" tIns="64981" rIns="0" bIns="0" numCol="1" spcCol="1270" anchor="t" anchorCtr="0">
              <a:noAutofit/>
            </a:bodyPr>
            <a:lstStyle/>
            <a:p>
              <a:pPr algn="just"/>
              <a:r>
                <a:rPr lang="es-ES" sz="1600" kern="0" dirty="0">
                  <a:solidFill>
                    <a:srgbClr val="D7EFF5"/>
                  </a:solidFill>
                  <a:latin typeface="Montserrat" panose="00000500000000000000" pitchFamily="2" charset="0"/>
                </a:rPr>
                <a:t>Las propuestas deberán presentarse a través de la sede electrónica del Ayuntamiento de Madrid </a:t>
              </a:r>
              <a:r>
                <a:rPr lang="es-ES" sz="2000" dirty="0">
                  <a:solidFill>
                    <a:srgbClr val="D7EFF5"/>
                  </a:solidFill>
                  <a:effectLst/>
                  <a:latin typeface="Montserrat" panose="00000500000000000000" pitchFamily="2" charset="0"/>
                  <a:ea typeface="Calibri" panose="020F0502020204030204" pitchFamily="34" charset="0"/>
                </a:rPr>
                <a:t> </a:t>
              </a:r>
            </a:p>
            <a:p>
              <a:pPr defTabSz="842354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s-ES" sz="1596" kern="0" dirty="0">
                <a:solidFill>
                  <a:schemeClr val="bg1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69" name="Rectángulo: esquinas redondeadas 68">
              <a:extLst>
                <a:ext uri="{FF2B5EF4-FFF2-40B4-BE49-F238E27FC236}">
                  <a16:creationId xmlns:a16="http://schemas.microsoft.com/office/drawing/2014/main" id="{52BA2762-F676-45A9-B3C3-69047F697D1B}"/>
                </a:ext>
              </a:extLst>
            </p:cNvPr>
            <p:cNvSpPr/>
            <p:nvPr/>
          </p:nvSpPr>
          <p:spPr>
            <a:xfrm rot="16200000">
              <a:off x="3662510" y="2788622"/>
              <a:ext cx="2580978" cy="2150815"/>
            </a:xfrm>
            <a:prstGeom prst="roundRect">
              <a:avLst>
                <a:gd name="adj" fmla="val 7611"/>
              </a:avLst>
            </a:prstGeom>
            <a:solidFill>
              <a:schemeClr val="tx1">
                <a:lumMod val="95000"/>
                <a:lumOff val="5000"/>
              </a:schemeClr>
            </a:solidFill>
            <a:ln w="25400" cap="flat" cmpd="sng" algn="ctr">
              <a:solidFill>
                <a:srgbClr val="0000FF"/>
              </a:solidFill>
              <a:prstDash val="solid"/>
            </a:ln>
            <a:effectLst/>
          </p:spPr>
          <p:txBody>
            <a:bodyPr spcFirstLastPara="0" vert="horz" wrap="square" lIns="35906" tIns="68402" rIns="88669" bIns="1716170" numCol="1" spcCol="1270" anchor="t" anchorCtr="0">
              <a:noAutofit/>
            </a:bodyPr>
            <a:lstStyle/>
            <a:p>
              <a:pPr algn="r" defTabSz="886689">
                <a:lnSpc>
                  <a:spcPct val="90000"/>
                </a:lnSpc>
                <a:spcAft>
                  <a:spcPct val="35000"/>
                </a:spcAft>
              </a:pPr>
              <a:r>
                <a:rPr lang="es-ES" sz="1396" b="1" kern="0" dirty="0">
                  <a:solidFill>
                    <a:schemeClr val="bg1"/>
                  </a:solidFill>
                  <a:latin typeface="Montserrat" panose="00000500000000000000" pitchFamily="2" charset="0"/>
                </a:rPr>
                <a:t>CONSULTAS</a:t>
              </a:r>
            </a:p>
          </p:txBody>
        </p:sp>
        <p:sp>
          <p:nvSpPr>
            <p:cNvPr id="70" name="Forma libre: forma 69">
              <a:extLst>
                <a:ext uri="{FF2B5EF4-FFF2-40B4-BE49-F238E27FC236}">
                  <a16:creationId xmlns:a16="http://schemas.microsoft.com/office/drawing/2014/main" id="{B64CDF4C-503A-435B-828F-2219CB0366BC}"/>
                </a:ext>
              </a:extLst>
            </p:cNvPr>
            <p:cNvSpPr/>
            <p:nvPr/>
          </p:nvSpPr>
          <p:spPr>
            <a:xfrm>
              <a:off x="4166043" y="2573541"/>
              <a:ext cx="1744068" cy="2580977"/>
            </a:xfrm>
            <a:custGeom>
              <a:avLst/>
              <a:gdLst>
                <a:gd name="connsiteX0" fmla="*/ 0 w 1602356"/>
                <a:gd name="connsiteY0" fmla="*/ 0 h 2580977"/>
                <a:gd name="connsiteX1" fmla="*/ 1602356 w 1602356"/>
                <a:gd name="connsiteY1" fmla="*/ 0 h 2580977"/>
                <a:gd name="connsiteX2" fmla="*/ 1602356 w 1602356"/>
                <a:gd name="connsiteY2" fmla="*/ 2580977 h 2580977"/>
                <a:gd name="connsiteX3" fmla="*/ 0 w 1602356"/>
                <a:gd name="connsiteY3" fmla="*/ 2580977 h 2580977"/>
                <a:gd name="connsiteX4" fmla="*/ 0 w 1602356"/>
                <a:gd name="connsiteY4" fmla="*/ 0 h 2580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2356" h="2580977">
                  <a:moveTo>
                    <a:pt x="0" y="0"/>
                  </a:moveTo>
                  <a:lnTo>
                    <a:pt x="1602356" y="0"/>
                  </a:lnTo>
                  <a:lnTo>
                    <a:pt x="1602356" y="2580977"/>
                  </a:lnTo>
                  <a:lnTo>
                    <a:pt x="0" y="258097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 cmpd="sng" algn="ctr">
              <a:noFill/>
              <a:prstDash val="solid"/>
            </a:ln>
            <a:effectLst/>
            <a:sp3d/>
          </p:spPr>
          <p:txBody>
            <a:bodyPr spcFirstLastPara="0" vert="horz" wrap="square" lIns="0" tIns="64981" rIns="0" bIns="0" numCol="1" spcCol="1270" anchor="t" anchorCtr="0">
              <a:noAutofit/>
            </a:bodyPr>
            <a:lstStyle/>
            <a:p>
              <a:pPr algn="just"/>
              <a:r>
                <a:rPr lang="es-ES" sz="1600" kern="0" dirty="0">
                  <a:solidFill>
                    <a:srgbClr val="D7EFF5"/>
                  </a:solidFill>
                  <a:latin typeface="Montserrat" panose="00000500000000000000" pitchFamily="2" charset="0"/>
                </a:rPr>
                <a:t>Podrán enviarse dudas y consultas a través del “formulario para la resolución de dudas” </a:t>
              </a:r>
            </a:p>
            <a:p>
              <a:endParaRPr lang="es-ES" sz="1600" kern="0" dirty="0">
                <a:solidFill>
                  <a:srgbClr val="000099"/>
                </a:solidFill>
                <a:latin typeface="Montserrat" panose="00000500000000000000" pitchFamily="2" charset="0"/>
              </a:endParaRPr>
            </a:p>
          </p:txBody>
        </p:sp>
        <p:sp>
          <p:nvSpPr>
            <p:cNvPr id="71" name="Rectángulo: esquinas redondeadas 70">
              <a:extLst>
                <a:ext uri="{FF2B5EF4-FFF2-40B4-BE49-F238E27FC236}">
                  <a16:creationId xmlns:a16="http://schemas.microsoft.com/office/drawing/2014/main" id="{A0D15FBB-BE0B-48CD-9C4C-FDB80B6F3CDC}"/>
                </a:ext>
              </a:extLst>
            </p:cNvPr>
            <p:cNvSpPr/>
            <p:nvPr/>
          </p:nvSpPr>
          <p:spPr>
            <a:xfrm rot="16200000">
              <a:off x="5888603" y="2788621"/>
              <a:ext cx="2580978" cy="2150815"/>
            </a:xfrm>
            <a:prstGeom prst="roundRect">
              <a:avLst>
                <a:gd name="adj" fmla="val 6036"/>
              </a:avLst>
            </a:prstGeom>
            <a:solidFill>
              <a:schemeClr val="tx1">
                <a:lumMod val="95000"/>
                <a:lumOff val="5000"/>
              </a:schemeClr>
            </a:solidFill>
            <a:ln w="25400" cap="flat" cmpd="sng" algn="ctr">
              <a:solidFill>
                <a:srgbClr val="0000FF"/>
              </a:solidFill>
              <a:prstDash val="solid"/>
            </a:ln>
            <a:effectLst/>
          </p:spPr>
          <p:txBody>
            <a:bodyPr spcFirstLastPara="0" vert="horz" wrap="square" lIns="35906" tIns="68402" rIns="88669" bIns="1716170" numCol="1" spcCol="1270" anchor="t" anchorCtr="0">
              <a:noAutofit/>
            </a:bodyPr>
            <a:lstStyle/>
            <a:p>
              <a:pPr algn="r" defTabSz="886689">
                <a:lnSpc>
                  <a:spcPct val="90000"/>
                </a:lnSpc>
                <a:spcAft>
                  <a:spcPct val="35000"/>
                </a:spcAft>
              </a:pPr>
              <a:r>
                <a:rPr lang="es-ES" sz="1396" b="1" kern="0" dirty="0">
                  <a:solidFill>
                    <a:schemeClr val="bg1"/>
                  </a:solidFill>
                  <a:latin typeface="Montserrat" panose="00000500000000000000" pitchFamily="2" charset="0"/>
                </a:rPr>
                <a:t>FAQS</a:t>
              </a:r>
            </a:p>
          </p:txBody>
        </p:sp>
        <p:sp>
          <p:nvSpPr>
            <p:cNvPr id="72" name="Forma libre: forma 71">
              <a:extLst>
                <a:ext uri="{FF2B5EF4-FFF2-40B4-BE49-F238E27FC236}">
                  <a16:creationId xmlns:a16="http://schemas.microsoft.com/office/drawing/2014/main" id="{D71ECB47-DF8C-4AF7-846C-49C4985118B4}"/>
                </a:ext>
              </a:extLst>
            </p:cNvPr>
            <p:cNvSpPr/>
            <p:nvPr/>
          </p:nvSpPr>
          <p:spPr>
            <a:xfrm>
              <a:off x="6392135" y="2573541"/>
              <a:ext cx="1828950" cy="2580978"/>
            </a:xfrm>
            <a:custGeom>
              <a:avLst/>
              <a:gdLst>
                <a:gd name="connsiteX0" fmla="*/ 0 w 1602356"/>
                <a:gd name="connsiteY0" fmla="*/ 0 h 2580977"/>
                <a:gd name="connsiteX1" fmla="*/ 1602356 w 1602356"/>
                <a:gd name="connsiteY1" fmla="*/ 0 h 2580977"/>
                <a:gd name="connsiteX2" fmla="*/ 1602356 w 1602356"/>
                <a:gd name="connsiteY2" fmla="*/ 2580977 h 2580977"/>
                <a:gd name="connsiteX3" fmla="*/ 0 w 1602356"/>
                <a:gd name="connsiteY3" fmla="*/ 2580977 h 2580977"/>
                <a:gd name="connsiteX4" fmla="*/ 0 w 1602356"/>
                <a:gd name="connsiteY4" fmla="*/ 0 h 2580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2356" h="2580977">
                  <a:moveTo>
                    <a:pt x="0" y="0"/>
                  </a:moveTo>
                  <a:lnTo>
                    <a:pt x="1602356" y="0"/>
                  </a:lnTo>
                  <a:lnTo>
                    <a:pt x="1602356" y="2580977"/>
                  </a:lnTo>
                  <a:lnTo>
                    <a:pt x="0" y="258097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5400" cap="flat" cmpd="sng" algn="ctr">
              <a:noFill/>
              <a:prstDash val="solid"/>
            </a:ln>
            <a:effectLst/>
            <a:sp3d/>
          </p:spPr>
          <p:txBody>
            <a:bodyPr spcFirstLastPara="0" vert="horz" wrap="square" lIns="0" tIns="64981" rIns="0" bIns="0" numCol="1" spcCol="1270" anchor="t" anchorCtr="0">
              <a:noAutofit/>
            </a:bodyPr>
            <a:lstStyle/>
            <a:p>
              <a:pPr algn="just"/>
              <a:r>
                <a:rPr lang="es-ES" sz="1600" kern="0" dirty="0">
                  <a:solidFill>
                    <a:srgbClr val="D7EFF5"/>
                  </a:solidFill>
                  <a:latin typeface="Montserrat" panose="00000500000000000000" pitchFamily="2" charset="0"/>
                </a:rPr>
                <a:t>Las respuestas a las dudas se compartirán con todos los operadores a través del documento “preguntas frecuentes”</a:t>
              </a:r>
            </a:p>
          </p:txBody>
        </p:sp>
      </p:grpSp>
      <p:sp>
        <p:nvSpPr>
          <p:cNvPr id="3" name="Rectángulo 14">
            <a:extLst>
              <a:ext uri="{FF2B5EF4-FFF2-40B4-BE49-F238E27FC236}">
                <a16:creationId xmlns:a16="http://schemas.microsoft.com/office/drawing/2014/main" id="{3B7583ED-D492-CBAA-BEBA-42CEAE84E71D}"/>
              </a:ext>
            </a:extLst>
          </p:cNvPr>
          <p:cNvSpPr/>
          <p:nvPr/>
        </p:nvSpPr>
        <p:spPr>
          <a:xfrm flipV="1">
            <a:off x="1448457" y="10995"/>
            <a:ext cx="596957" cy="76277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94000">
                <a:schemeClr val="accent1">
                  <a:lumMod val="20000"/>
                  <a:lumOff val="80000"/>
                </a:schemeClr>
              </a:gs>
              <a:gs pos="83000">
                <a:schemeClr val="tx1"/>
              </a:gs>
              <a:gs pos="100000">
                <a:schemeClr val="accent4">
                  <a:lumMod val="50000"/>
                </a:schemeClr>
              </a:gs>
            </a:gsLst>
            <a:lin ang="13500000" scaled="1"/>
            <a:tileRect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lang="es-ES" sz="3192" dirty="0">
              <a:solidFill>
                <a:schemeClr val="bg1"/>
              </a:solidFill>
            </a:endParaRPr>
          </a:p>
        </p:txBody>
      </p:sp>
      <p:sp>
        <p:nvSpPr>
          <p:cNvPr id="2" name="Google Shape;207;p24">
            <a:extLst>
              <a:ext uri="{FF2B5EF4-FFF2-40B4-BE49-F238E27FC236}">
                <a16:creationId xmlns:a16="http://schemas.microsoft.com/office/drawing/2014/main" id="{01F92D4C-4290-C774-B3E8-FF1E9531405B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10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19525505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5DA86EC9-8A74-4530-B5A2-798E7C8510E6}"/>
              </a:ext>
            </a:extLst>
          </p:cNvPr>
          <p:cNvSpPr txBox="1"/>
          <p:nvPr/>
        </p:nvSpPr>
        <p:spPr>
          <a:xfrm>
            <a:off x="828129" y="1291137"/>
            <a:ext cx="815821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 defTabSz="912023" fontAlgn="base">
              <a:spcBef>
                <a:spcPct val="0"/>
              </a:spcBef>
              <a:spcAft>
                <a:spcPct val="0"/>
              </a:spcAft>
              <a:buAutoNum type="romanUcPeriod"/>
              <a:defRPr/>
            </a:pPr>
            <a:r>
              <a:rPr lang="es-ES" sz="2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anose="00000500000000000000" pitchFamily="2" charset="0"/>
              </a:rPr>
              <a:t>La Consulta Preliminar al Mercado</a:t>
            </a:r>
          </a:p>
          <a:p>
            <a:pPr defTabSz="912023" fontAlgn="base">
              <a:spcBef>
                <a:spcPct val="0"/>
              </a:spcBef>
              <a:spcAft>
                <a:spcPct val="0"/>
              </a:spcAft>
              <a:tabLst>
                <a:tab pos="542925" algn="l"/>
              </a:tabLst>
              <a:defRPr/>
            </a:pPr>
            <a:r>
              <a:rPr lang="es-ES" sz="2800" dirty="0">
                <a:solidFill>
                  <a:schemeClr val="tx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anose="00000500000000000000" pitchFamily="2" charset="0"/>
              </a:rPr>
              <a:t>II.  Cómo participar en la Consulta</a:t>
            </a:r>
          </a:p>
          <a:p>
            <a:pPr defTabSz="91202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anose="00000500000000000000" pitchFamily="2" charset="0"/>
              </a:rPr>
              <a:t>III. Próximos pasos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00D62B1E-6201-296D-FD86-5652C58FF9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9618" y="5911938"/>
            <a:ext cx="1913613" cy="503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Google Shape;207;p24">
            <a:extLst>
              <a:ext uri="{FF2B5EF4-FFF2-40B4-BE49-F238E27FC236}">
                <a16:creationId xmlns:a16="http://schemas.microsoft.com/office/drawing/2014/main" id="{C3226504-B22E-72A7-695F-B2F22BB72557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11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28732038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17AF672-D9BA-685C-1E53-EB909D89B096}"/>
              </a:ext>
            </a:extLst>
          </p:cNvPr>
          <p:cNvSpPr/>
          <p:nvPr/>
        </p:nvSpPr>
        <p:spPr>
          <a:xfrm>
            <a:off x="0" y="3991945"/>
            <a:ext cx="12160250" cy="1646605"/>
          </a:xfrm>
          <a:prstGeom prst="rect">
            <a:avLst/>
          </a:prstGeom>
          <a:solidFill>
            <a:srgbClr val="1A8A6A">
              <a:alpha val="50980"/>
            </a:srgbClr>
          </a:solidFill>
        </p:spPr>
        <p:txBody>
          <a:bodyPr wrap="square">
            <a:spAutoFit/>
          </a:bodyPr>
          <a:lstStyle/>
          <a:p>
            <a:pPr algn="ctr" defTabSz="414338">
              <a:spcBef>
                <a:spcPts val="199"/>
              </a:spcBef>
              <a:tabLst>
                <a:tab pos="9505950" algn="l"/>
                <a:tab pos="10496550" algn="l"/>
                <a:tab pos="10763250" algn="l"/>
                <a:tab pos="10848975" algn="l"/>
              </a:tabLst>
            </a:pPr>
            <a:endParaRPr lang="es-ES" sz="2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414338">
              <a:spcBef>
                <a:spcPts val="199"/>
              </a:spcBef>
              <a:tabLst>
                <a:tab pos="9505950" algn="l"/>
                <a:tab pos="10496550" algn="l"/>
                <a:tab pos="10763250" algn="l"/>
                <a:tab pos="10848975" algn="l"/>
              </a:tabLst>
            </a:pPr>
            <a:endParaRPr lang="es-ES" sz="2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414338">
              <a:spcBef>
                <a:spcPts val="199"/>
              </a:spcBef>
              <a:tabLst>
                <a:tab pos="9505950" algn="l"/>
                <a:tab pos="10496550" algn="l"/>
                <a:tab pos="10763250" algn="l"/>
                <a:tab pos="10848975" algn="l"/>
              </a:tabLst>
            </a:pPr>
            <a:endParaRPr lang="es-ES" sz="2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414338">
              <a:spcBef>
                <a:spcPts val="199"/>
              </a:spcBef>
              <a:tabLst>
                <a:tab pos="9505950" algn="l"/>
                <a:tab pos="10496550" algn="l"/>
                <a:tab pos="10763250" algn="l"/>
                <a:tab pos="10848975" algn="l"/>
              </a:tabLst>
            </a:pPr>
            <a:endParaRPr lang="es-ES" sz="2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9C56E7-A1A3-02AE-A148-54685E59E177}"/>
              </a:ext>
            </a:extLst>
          </p:cNvPr>
          <p:cNvSpPr/>
          <p:nvPr/>
        </p:nvSpPr>
        <p:spPr>
          <a:xfrm>
            <a:off x="0" y="1798570"/>
            <a:ext cx="12160250" cy="1646605"/>
          </a:xfrm>
          <a:prstGeom prst="rect">
            <a:avLst/>
          </a:prstGeom>
          <a:solidFill>
            <a:srgbClr val="1A8A6A">
              <a:alpha val="50980"/>
            </a:srgbClr>
          </a:solidFill>
        </p:spPr>
        <p:txBody>
          <a:bodyPr wrap="square">
            <a:spAutoFit/>
          </a:bodyPr>
          <a:lstStyle/>
          <a:p>
            <a:pPr algn="ctr" defTabSz="414338">
              <a:spcBef>
                <a:spcPts val="199"/>
              </a:spcBef>
              <a:tabLst>
                <a:tab pos="9505950" algn="l"/>
                <a:tab pos="10496550" algn="l"/>
                <a:tab pos="10763250" algn="l"/>
                <a:tab pos="10848975" algn="l"/>
              </a:tabLst>
            </a:pPr>
            <a:endParaRPr lang="es-ES" sz="24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414338">
              <a:spcBef>
                <a:spcPts val="199"/>
              </a:spcBef>
              <a:tabLst>
                <a:tab pos="9505950" algn="l"/>
                <a:tab pos="10496550" algn="l"/>
                <a:tab pos="10763250" algn="l"/>
                <a:tab pos="10848975" algn="l"/>
              </a:tabLst>
            </a:pPr>
            <a:endParaRPr lang="es-ES" sz="24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414338">
              <a:spcBef>
                <a:spcPts val="199"/>
              </a:spcBef>
              <a:tabLst>
                <a:tab pos="9505950" algn="l"/>
                <a:tab pos="10496550" algn="l"/>
                <a:tab pos="10763250" algn="l"/>
                <a:tab pos="10848975" algn="l"/>
              </a:tabLst>
            </a:pPr>
            <a:endParaRPr lang="es-ES" sz="2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414338">
              <a:spcBef>
                <a:spcPts val="199"/>
              </a:spcBef>
              <a:tabLst>
                <a:tab pos="9505950" algn="l"/>
                <a:tab pos="10496550" algn="l"/>
                <a:tab pos="10763250" algn="l"/>
                <a:tab pos="10848975" algn="l"/>
              </a:tabLst>
            </a:pPr>
            <a:endParaRPr lang="es-ES" sz="2400" b="1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458F46E1-BF25-4F33-B5DA-67AF83D4DD03}"/>
              </a:ext>
            </a:extLst>
          </p:cNvPr>
          <p:cNvSpPr/>
          <p:nvPr/>
        </p:nvSpPr>
        <p:spPr>
          <a:xfrm flipV="1">
            <a:off x="1582372" y="19746"/>
            <a:ext cx="596957" cy="7627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972" tIns="53483" rIns="106972" bIns="53483" rtlCol="0" anchor="t"/>
          <a:lstStyle/>
          <a:p>
            <a:pPr defTabSz="912023" eaLnBrk="0" fontAlgn="base" hangingPunct="0">
              <a:spcBef>
                <a:spcPts val="598"/>
              </a:spcBef>
              <a:spcAft>
                <a:spcPct val="0"/>
              </a:spcAft>
              <a:buClr>
                <a:srgbClr val="003A43">
                  <a:lumMod val="90000"/>
                  <a:lumOff val="10000"/>
                </a:srgbClr>
              </a:buClr>
              <a:defRPr/>
            </a:pPr>
            <a:endParaRPr lang="es-ES" sz="1596" dirty="0">
              <a:solidFill>
                <a:srgbClr val="000000"/>
              </a:solidFill>
              <a:latin typeface="Futura PT Book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7DA380F-EAEC-4BE8-BA43-977CAD9EAF52}"/>
              </a:ext>
            </a:extLst>
          </p:cNvPr>
          <p:cNvSpPr txBox="1"/>
          <p:nvPr/>
        </p:nvSpPr>
        <p:spPr>
          <a:xfrm>
            <a:off x="2179329" y="221631"/>
            <a:ext cx="3618468" cy="6446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202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3591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óximos pasos</a:t>
            </a:r>
          </a:p>
        </p:txBody>
      </p:sp>
      <p:sp>
        <p:nvSpPr>
          <p:cNvPr id="22" name="Rectangle 494">
            <a:extLst>
              <a:ext uri="{FF2B5EF4-FFF2-40B4-BE49-F238E27FC236}">
                <a16:creationId xmlns:a16="http://schemas.microsoft.com/office/drawing/2014/main" id="{8C3AF1F1-DB63-4E08-AA0D-CB1DC6D212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3849" y="2219242"/>
            <a:ext cx="2911137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202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zamiento de la CPM 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ción Bases de la CPM y </a:t>
            </a:r>
            <a:r>
              <a:rPr lang="en-GB" altLang="ru-R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rnada</a:t>
            </a:r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altLang="ru-R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ación</a:t>
            </a:r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GB" altLang="ru-R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o</a:t>
            </a:r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2/12/2023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alt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3" name="Group 6">
            <a:extLst>
              <a:ext uri="{FF2B5EF4-FFF2-40B4-BE49-F238E27FC236}">
                <a16:creationId xmlns:a16="http://schemas.microsoft.com/office/drawing/2014/main" id="{FDBD3503-60AC-4A23-A2E4-DAA14E6BB086}"/>
              </a:ext>
            </a:extLst>
          </p:cNvPr>
          <p:cNvGrpSpPr/>
          <p:nvPr/>
        </p:nvGrpSpPr>
        <p:grpSpPr>
          <a:xfrm>
            <a:off x="837344" y="2099294"/>
            <a:ext cx="705278" cy="705288"/>
            <a:chOff x="3657463" y="1053734"/>
            <a:chExt cx="707119" cy="707129"/>
          </a:xfrm>
        </p:grpSpPr>
        <p:sp>
          <p:nvSpPr>
            <p:cNvPr id="34" name="Oval 510">
              <a:extLst>
                <a:ext uri="{FF2B5EF4-FFF2-40B4-BE49-F238E27FC236}">
                  <a16:creationId xmlns:a16="http://schemas.microsoft.com/office/drawing/2014/main" id="{2707FD88-430C-4FF9-A898-278426F0D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7463" y="1053734"/>
              <a:ext cx="707119" cy="707129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202" tIns="45601" rIns="91202" bIns="45601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5" name="Freeform 512">
              <a:extLst>
                <a:ext uri="{FF2B5EF4-FFF2-40B4-BE49-F238E27FC236}">
                  <a16:creationId xmlns:a16="http://schemas.microsoft.com/office/drawing/2014/main" id="{2ABC87BE-0485-45B8-9724-54FA31653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8983" y="1119178"/>
              <a:ext cx="434935" cy="527541"/>
            </a:xfrm>
            <a:custGeom>
              <a:avLst/>
              <a:gdLst>
                <a:gd name="T0" fmla="*/ 44 w 131"/>
                <a:gd name="T1" fmla="*/ 136 h 159"/>
                <a:gd name="T2" fmla="*/ 83 w 131"/>
                <a:gd name="T3" fmla="*/ 116 h 159"/>
                <a:gd name="T4" fmla="*/ 101 w 131"/>
                <a:gd name="T5" fmla="*/ 67 h 159"/>
                <a:gd name="T6" fmla="*/ 30 w 131"/>
                <a:gd name="T7" fmla="*/ 67 h 159"/>
                <a:gd name="T8" fmla="*/ 48 w 131"/>
                <a:gd name="T9" fmla="*/ 119 h 159"/>
                <a:gd name="T10" fmla="*/ 41 w 131"/>
                <a:gd name="T11" fmla="*/ 119 h 159"/>
                <a:gd name="T12" fmla="*/ 23 w 131"/>
                <a:gd name="T13" fmla="*/ 67 h 159"/>
                <a:gd name="T14" fmla="*/ 109 w 131"/>
                <a:gd name="T15" fmla="*/ 67 h 159"/>
                <a:gd name="T16" fmla="*/ 91 w 131"/>
                <a:gd name="T17" fmla="*/ 119 h 159"/>
                <a:gd name="T18" fmla="*/ 49 w 131"/>
                <a:gd name="T19" fmla="*/ 138 h 159"/>
                <a:gd name="T20" fmla="*/ 44 w 131"/>
                <a:gd name="T21" fmla="*/ 69 h 159"/>
                <a:gd name="T22" fmla="*/ 66 w 131"/>
                <a:gd name="T23" fmla="*/ 41 h 159"/>
                <a:gd name="T24" fmla="*/ 36 w 131"/>
                <a:gd name="T25" fmla="*/ 69 h 159"/>
                <a:gd name="T26" fmla="*/ 44 w 131"/>
                <a:gd name="T27" fmla="*/ 69 h 159"/>
                <a:gd name="T28" fmla="*/ 84 w 131"/>
                <a:gd name="T29" fmla="*/ 137 h 159"/>
                <a:gd name="T30" fmla="*/ 81 w 131"/>
                <a:gd name="T31" fmla="*/ 130 h 159"/>
                <a:gd name="T32" fmla="*/ 50 w 131"/>
                <a:gd name="T33" fmla="*/ 147 h 159"/>
                <a:gd name="T34" fmla="*/ 55 w 131"/>
                <a:gd name="T35" fmla="*/ 149 h 159"/>
                <a:gd name="T36" fmla="*/ 82 w 131"/>
                <a:gd name="T37" fmla="*/ 151 h 159"/>
                <a:gd name="T38" fmla="*/ 80 w 131"/>
                <a:gd name="T39" fmla="*/ 144 h 159"/>
                <a:gd name="T40" fmla="*/ 57 w 131"/>
                <a:gd name="T41" fmla="*/ 157 h 159"/>
                <a:gd name="T42" fmla="*/ 62 w 131"/>
                <a:gd name="T43" fmla="*/ 159 h 159"/>
                <a:gd name="T44" fmla="*/ 68 w 131"/>
                <a:gd name="T45" fmla="*/ 2 h 159"/>
                <a:gd name="T46" fmla="*/ 63 w 131"/>
                <a:gd name="T47" fmla="*/ 2 h 159"/>
                <a:gd name="T48" fmla="*/ 65 w 131"/>
                <a:gd name="T49" fmla="*/ 19 h 159"/>
                <a:gd name="T50" fmla="*/ 88 w 131"/>
                <a:gd name="T51" fmla="*/ 21 h 159"/>
                <a:gd name="T52" fmla="*/ 91 w 131"/>
                <a:gd name="T53" fmla="*/ 4 h 159"/>
                <a:gd name="T54" fmla="*/ 83 w 131"/>
                <a:gd name="T55" fmla="*/ 19 h 159"/>
                <a:gd name="T56" fmla="*/ 85 w 131"/>
                <a:gd name="T57" fmla="*/ 22 h 159"/>
                <a:gd name="T58" fmla="*/ 105 w 131"/>
                <a:gd name="T59" fmla="*/ 32 h 159"/>
                <a:gd name="T60" fmla="*/ 113 w 131"/>
                <a:gd name="T61" fmla="*/ 17 h 159"/>
                <a:gd name="T62" fmla="*/ 101 w 131"/>
                <a:gd name="T63" fmla="*/ 28 h 159"/>
                <a:gd name="T64" fmla="*/ 103 w 131"/>
                <a:gd name="T65" fmla="*/ 32 h 159"/>
                <a:gd name="T66" fmla="*/ 117 w 131"/>
                <a:gd name="T67" fmla="*/ 48 h 159"/>
                <a:gd name="T68" fmla="*/ 130 w 131"/>
                <a:gd name="T69" fmla="*/ 37 h 159"/>
                <a:gd name="T70" fmla="*/ 114 w 131"/>
                <a:gd name="T71" fmla="*/ 43 h 159"/>
                <a:gd name="T72" fmla="*/ 116 w 131"/>
                <a:gd name="T73" fmla="*/ 48 h 159"/>
                <a:gd name="T74" fmla="*/ 46 w 131"/>
                <a:gd name="T75" fmla="*/ 22 h 159"/>
                <a:gd name="T76" fmla="*/ 43 w 131"/>
                <a:gd name="T77" fmla="*/ 6 h 159"/>
                <a:gd name="T78" fmla="*/ 38 w 131"/>
                <a:gd name="T79" fmla="*/ 7 h 159"/>
                <a:gd name="T80" fmla="*/ 45 w 131"/>
                <a:gd name="T81" fmla="*/ 22 h 159"/>
                <a:gd name="T82" fmla="*/ 30 w 131"/>
                <a:gd name="T83" fmla="*/ 32 h 159"/>
                <a:gd name="T84" fmla="*/ 21 w 131"/>
                <a:gd name="T85" fmla="*/ 17 h 159"/>
                <a:gd name="T86" fmla="*/ 17 w 131"/>
                <a:gd name="T87" fmla="*/ 21 h 159"/>
                <a:gd name="T88" fmla="*/ 28 w 131"/>
                <a:gd name="T89" fmla="*/ 32 h 159"/>
                <a:gd name="T90" fmla="*/ 17 w 131"/>
                <a:gd name="T91" fmla="*/ 47 h 159"/>
                <a:gd name="T92" fmla="*/ 4 w 131"/>
                <a:gd name="T93" fmla="*/ 36 h 159"/>
                <a:gd name="T94" fmla="*/ 1 w 131"/>
                <a:gd name="T95" fmla="*/ 41 h 159"/>
                <a:gd name="T96" fmla="*/ 15 w 131"/>
                <a:gd name="T97" fmla="*/ 48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1" h="159">
                  <a:moveTo>
                    <a:pt x="47" y="139"/>
                  </a:moveTo>
                  <a:cubicBezTo>
                    <a:pt x="46" y="139"/>
                    <a:pt x="45" y="138"/>
                    <a:pt x="44" y="136"/>
                  </a:cubicBezTo>
                  <a:cubicBezTo>
                    <a:pt x="43" y="134"/>
                    <a:pt x="44" y="132"/>
                    <a:pt x="46" y="131"/>
                  </a:cubicBezTo>
                  <a:cubicBezTo>
                    <a:pt x="83" y="116"/>
                    <a:pt x="83" y="116"/>
                    <a:pt x="83" y="116"/>
                  </a:cubicBezTo>
                  <a:cubicBezTo>
                    <a:pt x="83" y="109"/>
                    <a:pt x="86" y="101"/>
                    <a:pt x="95" y="87"/>
                  </a:cubicBezTo>
                  <a:cubicBezTo>
                    <a:pt x="99" y="81"/>
                    <a:pt x="101" y="74"/>
                    <a:pt x="101" y="67"/>
                  </a:cubicBezTo>
                  <a:cubicBezTo>
                    <a:pt x="101" y="48"/>
                    <a:pt x="85" y="32"/>
                    <a:pt x="66" y="32"/>
                  </a:cubicBezTo>
                  <a:cubicBezTo>
                    <a:pt x="46" y="32"/>
                    <a:pt x="30" y="48"/>
                    <a:pt x="30" y="67"/>
                  </a:cubicBezTo>
                  <a:cubicBezTo>
                    <a:pt x="30" y="74"/>
                    <a:pt x="32" y="81"/>
                    <a:pt x="36" y="87"/>
                  </a:cubicBezTo>
                  <a:cubicBezTo>
                    <a:pt x="46" y="102"/>
                    <a:pt x="49" y="110"/>
                    <a:pt x="48" y="119"/>
                  </a:cubicBezTo>
                  <a:cubicBezTo>
                    <a:pt x="48" y="121"/>
                    <a:pt x="46" y="123"/>
                    <a:pt x="44" y="123"/>
                  </a:cubicBezTo>
                  <a:cubicBezTo>
                    <a:pt x="42" y="122"/>
                    <a:pt x="41" y="121"/>
                    <a:pt x="41" y="119"/>
                  </a:cubicBezTo>
                  <a:cubicBezTo>
                    <a:pt x="42" y="112"/>
                    <a:pt x="39" y="105"/>
                    <a:pt x="30" y="91"/>
                  </a:cubicBezTo>
                  <a:cubicBezTo>
                    <a:pt x="25" y="84"/>
                    <a:pt x="23" y="76"/>
                    <a:pt x="23" y="67"/>
                  </a:cubicBezTo>
                  <a:cubicBezTo>
                    <a:pt x="23" y="44"/>
                    <a:pt x="42" y="25"/>
                    <a:pt x="66" y="25"/>
                  </a:cubicBezTo>
                  <a:cubicBezTo>
                    <a:pt x="89" y="25"/>
                    <a:pt x="109" y="44"/>
                    <a:pt x="109" y="67"/>
                  </a:cubicBezTo>
                  <a:cubicBezTo>
                    <a:pt x="109" y="76"/>
                    <a:pt x="106" y="84"/>
                    <a:pt x="102" y="91"/>
                  </a:cubicBezTo>
                  <a:cubicBezTo>
                    <a:pt x="92" y="105"/>
                    <a:pt x="90" y="112"/>
                    <a:pt x="91" y="119"/>
                  </a:cubicBezTo>
                  <a:cubicBezTo>
                    <a:pt x="91" y="120"/>
                    <a:pt x="90" y="122"/>
                    <a:pt x="88" y="122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48" y="139"/>
                    <a:pt x="48" y="139"/>
                    <a:pt x="47" y="139"/>
                  </a:cubicBezTo>
                  <a:close/>
                  <a:moveTo>
                    <a:pt x="44" y="69"/>
                  </a:moveTo>
                  <a:cubicBezTo>
                    <a:pt x="44" y="58"/>
                    <a:pt x="52" y="48"/>
                    <a:pt x="63" y="45"/>
                  </a:cubicBezTo>
                  <a:cubicBezTo>
                    <a:pt x="65" y="45"/>
                    <a:pt x="66" y="43"/>
                    <a:pt x="66" y="41"/>
                  </a:cubicBezTo>
                  <a:cubicBezTo>
                    <a:pt x="66" y="39"/>
                    <a:pt x="64" y="38"/>
                    <a:pt x="62" y="38"/>
                  </a:cubicBezTo>
                  <a:cubicBezTo>
                    <a:pt x="47" y="41"/>
                    <a:pt x="36" y="54"/>
                    <a:pt x="36" y="69"/>
                  </a:cubicBezTo>
                  <a:cubicBezTo>
                    <a:pt x="36" y="71"/>
                    <a:pt x="38" y="73"/>
                    <a:pt x="40" y="73"/>
                  </a:cubicBezTo>
                  <a:cubicBezTo>
                    <a:pt x="42" y="73"/>
                    <a:pt x="44" y="71"/>
                    <a:pt x="44" y="69"/>
                  </a:cubicBezTo>
                  <a:close/>
                  <a:moveTo>
                    <a:pt x="55" y="149"/>
                  </a:moveTo>
                  <a:cubicBezTo>
                    <a:pt x="84" y="137"/>
                    <a:pt x="84" y="137"/>
                    <a:pt x="84" y="137"/>
                  </a:cubicBezTo>
                  <a:cubicBezTo>
                    <a:pt x="86" y="137"/>
                    <a:pt x="87" y="134"/>
                    <a:pt x="86" y="132"/>
                  </a:cubicBezTo>
                  <a:cubicBezTo>
                    <a:pt x="85" y="131"/>
                    <a:pt x="83" y="130"/>
                    <a:pt x="81" y="130"/>
                  </a:cubicBezTo>
                  <a:cubicBezTo>
                    <a:pt x="52" y="142"/>
                    <a:pt x="52" y="142"/>
                    <a:pt x="52" y="142"/>
                  </a:cubicBezTo>
                  <a:cubicBezTo>
                    <a:pt x="51" y="143"/>
                    <a:pt x="50" y="145"/>
                    <a:pt x="50" y="147"/>
                  </a:cubicBezTo>
                  <a:cubicBezTo>
                    <a:pt x="51" y="148"/>
                    <a:pt x="52" y="149"/>
                    <a:pt x="54" y="149"/>
                  </a:cubicBezTo>
                  <a:cubicBezTo>
                    <a:pt x="54" y="149"/>
                    <a:pt x="55" y="149"/>
                    <a:pt x="55" y="149"/>
                  </a:cubicBezTo>
                  <a:close/>
                  <a:moveTo>
                    <a:pt x="62" y="159"/>
                  </a:moveTo>
                  <a:cubicBezTo>
                    <a:pt x="82" y="151"/>
                    <a:pt x="82" y="151"/>
                    <a:pt x="82" y="151"/>
                  </a:cubicBezTo>
                  <a:cubicBezTo>
                    <a:pt x="84" y="150"/>
                    <a:pt x="85" y="148"/>
                    <a:pt x="84" y="146"/>
                  </a:cubicBezTo>
                  <a:cubicBezTo>
                    <a:pt x="84" y="144"/>
                    <a:pt x="81" y="143"/>
                    <a:pt x="80" y="144"/>
                  </a:cubicBezTo>
                  <a:cubicBezTo>
                    <a:pt x="59" y="152"/>
                    <a:pt x="59" y="152"/>
                    <a:pt x="59" y="152"/>
                  </a:cubicBezTo>
                  <a:cubicBezTo>
                    <a:pt x="57" y="153"/>
                    <a:pt x="56" y="155"/>
                    <a:pt x="57" y="157"/>
                  </a:cubicBezTo>
                  <a:cubicBezTo>
                    <a:pt x="57" y="159"/>
                    <a:pt x="59" y="159"/>
                    <a:pt x="60" y="159"/>
                  </a:cubicBezTo>
                  <a:cubicBezTo>
                    <a:pt x="61" y="159"/>
                    <a:pt x="61" y="159"/>
                    <a:pt x="62" y="159"/>
                  </a:cubicBezTo>
                  <a:close/>
                  <a:moveTo>
                    <a:pt x="68" y="16"/>
                  </a:moveTo>
                  <a:cubicBezTo>
                    <a:pt x="68" y="2"/>
                    <a:pt x="68" y="2"/>
                    <a:pt x="68" y="2"/>
                  </a:cubicBezTo>
                  <a:cubicBezTo>
                    <a:pt x="68" y="1"/>
                    <a:pt x="67" y="0"/>
                    <a:pt x="65" y="0"/>
                  </a:cubicBezTo>
                  <a:cubicBezTo>
                    <a:pt x="64" y="0"/>
                    <a:pt x="63" y="1"/>
                    <a:pt x="63" y="2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63" y="18"/>
                    <a:pt x="64" y="19"/>
                    <a:pt x="65" y="19"/>
                  </a:cubicBezTo>
                  <a:cubicBezTo>
                    <a:pt x="67" y="19"/>
                    <a:pt x="68" y="18"/>
                    <a:pt x="68" y="16"/>
                  </a:cubicBezTo>
                  <a:close/>
                  <a:moveTo>
                    <a:pt x="88" y="21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3" y="6"/>
                    <a:pt x="92" y="5"/>
                    <a:pt x="91" y="4"/>
                  </a:cubicBezTo>
                  <a:cubicBezTo>
                    <a:pt x="90" y="4"/>
                    <a:pt x="88" y="4"/>
                    <a:pt x="88" y="6"/>
                  </a:cubicBezTo>
                  <a:cubicBezTo>
                    <a:pt x="83" y="19"/>
                    <a:pt x="83" y="19"/>
                    <a:pt x="83" y="19"/>
                  </a:cubicBezTo>
                  <a:cubicBezTo>
                    <a:pt x="82" y="20"/>
                    <a:pt x="83" y="22"/>
                    <a:pt x="84" y="22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6" y="22"/>
                    <a:pt x="87" y="22"/>
                    <a:pt x="88" y="21"/>
                  </a:cubicBezTo>
                  <a:close/>
                  <a:moveTo>
                    <a:pt x="105" y="32"/>
                  </a:moveTo>
                  <a:cubicBezTo>
                    <a:pt x="114" y="21"/>
                    <a:pt x="114" y="21"/>
                    <a:pt x="114" y="21"/>
                  </a:cubicBezTo>
                  <a:cubicBezTo>
                    <a:pt x="115" y="20"/>
                    <a:pt x="115" y="18"/>
                    <a:pt x="113" y="17"/>
                  </a:cubicBezTo>
                  <a:cubicBezTo>
                    <a:pt x="112" y="16"/>
                    <a:pt x="111" y="16"/>
                    <a:pt x="110" y="17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0" y="29"/>
                    <a:pt x="100" y="31"/>
                    <a:pt x="101" y="32"/>
                  </a:cubicBezTo>
                  <a:cubicBezTo>
                    <a:pt x="102" y="32"/>
                    <a:pt x="102" y="32"/>
                    <a:pt x="103" y="32"/>
                  </a:cubicBezTo>
                  <a:cubicBezTo>
                    <a:pt x="104" y="32"/>
                    <a:pt x="104" y="32"/>
                    <a:pt x="105" y="32"/>
                  </a:cubicBezTo>
                  <a:close/>
                  <a:moveTo>
                    <a:pt x="117" y="48"/>
                  </a:moveTo>
                  <a:cubicBezTo>
                    <a:pt x="129" y="41"/>
                    <a:pt x="129" y="41"/>
                    <a:pt x="129" y="41"/>
                  </a:cubicBezTo>
                  <a:cubicBezTo>
                    <a:pt x="131" y="40"/>
                    <a:pt x="131" y="38"/>
                    <a:pt x="130" y="37"/>
                  </a:cubicBezTo>
                  <a:cubicBezTo>
                    <a:pt x="130" y="36"/>
                    <a:pt x="128" y="35"/>
                    <a:pt x="127" y="36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3" y="44"/>
                    <a:pt x="113" y="45"/>
                    <a:pt x="113" y="47"/>
                  </a:cubicBezTo>
                  <a:cubicBezTo>
                    <a:pt x="114" y="48"/>
                    <a:pt x="115" y="48"/>
                    <a:pt x="116" y="48"/>
                  </a:cubicBezTo>
                  <a:cubicBezTo>
                    <a:pt x="116" y="48"/>
                    <a:pt x="117" y="48"/>
                    <a:pt x="117" y="48"/>
                  </a:cubicBezTo>
                  <a:close/>
                  <a:moveTo>
                    <a:pt x="46" y="22"/>
                  </a:moveTo>
                  <a:cubicBezTo>
                    <a:pt x="48" y="22"/>
                    <a:pt x="48" y="20"/>
                    <a:pt x="48" y="19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4"/>
                    <a:pt x="41" y="4"/>
                    <a:pt x="40" y="4"/>
                  </a:cubicBezTo>
                  <a:cubicBezTo>
                    <a:pt x="38" y="5"/>
                    <a:pt x="38" y="6"/>
                    <a:pt x="38" y="7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2"/>
                    <a:pt x="44" y="22"/>
                    <a:pt x="45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30" y="32"/>
                  </a:moveTo>
                  <a:cubicBezTo>
                    <a:pt x="31" y="31"/>
                    <a:pt x="31" y="29"/>
                    <a:pt x="30" y="28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0" y="16"/>
                    <a:pt x="18" y="16"/>
                    <a:pt x="17" y="17"/>
                  </a:cubicBezTo>
                  <a:cubicBezTo>
                    <a:pt x="16" y="18"/>
                    <a:pt x="16" y="20"/>
                    <a:pt x="17" y="2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7" y="32"/>
                    <a:pt x="28" y="32"/>
                  </a:cubicBezTo>
                  <a:cubicBezTo>
                    <a:pt x="28" y="32"/>
                    <a:pt x="29" y="32"/>
                    <a:pt x="30" y="32"/>
                  </a:cubicBezTo>
                  <a:close/>
                  <a:moveTo>
                    <a:pt x="17" y="47"/>
                  </a:moveTo>
                  <a:cubicBezTo>
                    <a:pt x="18" y="45"/>
                    <a:pt x="17" y="44"/>
                    <a:pt x="16" y="43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3" y="35"/>
                    <a:pt x="1" y="36"/>
                    <a:pt x="0" y="37"/>
                  </a:cubicBezTo>
                  <a:cubicBezTo>
                    <a:pt x="0" y="38"/>
                    <a:pt x="0" y="40"/>
                    <a:pt x="1" y="41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7" y="48"/>
                    <a:pt x="17" y="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202" tIns="45601" rIns="91202" bIns="45601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upo 35">
            <a:extLst>
              <a:ext uri="{FF2B5EF4-FFF2-40B4-BE49-F238E27FC236}">
                <a16:creationId xmlns:a16="http://schemas.microsoft.com/office/drawing/2014/main" id="{F0AB5F00-8BFB-4280-B9D0-BDE531121C34}"/>
              </a:ext>
            </a:extLst>
          </p:cNvPr>
          <p:cNvGrpSpPr/>
          <p:nvPr/>
        </p:nvGrpSpPr>
        <p:grpSpPr>
          <a:xfrm>
            <a:off x="4845957" y="2099294"/>
            <a:ext cx="705288" cy="705288"/>
            <a:chOff x="1560799" y="3740366"/>
            <a:chExt cx="707129" cy="707129"/>
          </a:xfrm>
        </p:grpSpPr>
        <p:sp>
          <p:nvSpPr>
            <p:cNvPr id="37" name="Elipse 36">
              <a:extLst>
                <a:ext uri="{FF2B5EF4-FFF2-40B4-BE49-F238E27FC236}">
                  <a16:creationId xmlns:a16="http://schemas.microsoft.com/office/drawing/2014/main" id="{E62AD0B7-9148-4098-AF08-1F0B33283D3C}"/>
                </a:ext>
              </a:extLst>
            </p:cNvPr>
            <p:cNvSpPr/>
            <p:nvPr/>
          </p:nvSpPr>
          <p:spPr>
            <a:xfrm>
              <a:off x="1560799" y="3740366"/>
              <a:ext cx="707129" cy="707129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chemeClr val="bg1"/>
                </a:solidFill>
              </a:endParaRPr>
            </a:p>
          </p:txBody>
        </p:sp>
        <p:sp>
          <p:nvSpPr>
            <p:cNvPr id="38" name="Freeform 4846">
              <a:extLst>
                <a:ext uri="{FF2B5EF4-FFF2-40B4-BE49-F238E27FC236}">
                  <a16:creationId xmlns:a16="http://schemas.microsoft.com/office/drawing/2014/main" id="{4067F9D0-936E-47C8-972B-423D0C2D53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6801" y="3881507"/>
              <a:ext cx="515124" cy="424845"/>
            </a:xfrm>
            <a:custGeom>
              <a:avLst/>
              <a:gdLst>
                <a:gd name="T0" fmla="*/ 234 w 388"/>
                <a:gd name="T1" fmla="*/ 108 h 320"/>
                <a:gd name="T2" fmla="*/ 206 w 388"/>
                <a:gd name="T3" fmla="*/ 22 h 320"/>
                <a:gd name="T4" fmla="*/ 150 w 388"/>
                <a:gd name="T5" fmla="*/ 24 h 320"/>
                <a:gd name="T6" fmla="*/ 110 w 388"/>
                <a:gd name="T7" fmla="*/ 24 h 320"/>
                <a:gd name="T8" fmla="*/ 24 w 388"/>
                <a:gd name="T9" fmla="*/ 52 h 320"/>
                <a:gd name="T10" fmla="*/ 26 w 388"/>
                <a:gd name="T11" fmla="*/ 108 h 320"/>
                <a:gd name="T12" fmla="*/ 26 w 388"/>
                <a:gd name="T13" fmla="*/ 148 h 320"/>
                <a:gd name="T14" fmla="*/ 52 w 388"/>
                <a:gd name="T15" fmla="*/ 234 h 320"/>
                <a:gd name="T16" fmla="*/ 110 w 388"/>
                <a:gd name="T17" fmla="*/ 232 h 320"/>
                <a:gd name="T18" fmla="*/ 150 w 388"/>
                <a:gd name="T19" fmla="*/ 232 h 320"/>
                <a:gd name="T20" fmla="*/ 236 w 388"/>
                <a:gd name="T21" fmla="*/ 206 h 320"/>
                <a:gd name="T22" fmla="*/ 234 w 388"/>
                <a:gd name="T23" fmla="*/ 148 h 320"/>
                <a:gd name="T24" fmla="*/ 114 w 388"/>
                <a:gd name="T25" fmla="*/ 208 h 320"/>
                <a:gd name="T26" fmla="*/ 62 w 388"/>
                <a:gd name="T27" fmla="*/ 174 h 320"/>
                <a:gd name="T28" fmla="*/ 48 w 388"/>
                <a:gd name="T29" fmla="*/ 128 h 320"/>
                <a:gd name="T30" fmla="*/ 72 w 388"/>
                <a:gd name="T31" fmla="*/ 70 h 320"/>
                <a:gd name="T32" fmla="*/ 130 w 388"/>
                <a:gd name="T33" fmla="*/ 46 h 320"/>
                <a:gd name="T34" fmla="*/ 176 w 388"/>
                <a:gd name="T35" fmla="*/ 60 h 320"/>
                <a:gd name="T36" fmla="*/ 210 w 388"/>
                <a:gd name="T37" fmla="*/ 112 h 320"/>
                <a:gd name="T38" fmla="*/ 206 w 388"/>
                <a:gd name="T39" fmla="*/ 160 h 320"/>
                <a:gd name="T40" fmla="*/ 162 w 388"/>
                <a:gd name="T41" fmla="*/ 204 h 320"/>
                <a:gd name="T42" fmla="*/ 130 w 388"/>
                <a:gd name="T43" fmla="*/ 66 h 320"/>
                <a:gd name="T44" fmla="*/ 94 w 388"/>
                <a:gd name="T45" fmla="*/ 76 h 320"/>
                <a:gd name="T46" fmla="*/ 68 w 388"/>
                <a:gd name="T47" fmla="*/ 116 h 320"/>
                <a:gd name="T48" fmla="*/ 72 w 388"/>
                <a:gd name="T49" fmla="*/ 152 h 320"/>
                <a:gd name="T50" fmla="*/ 106 w 388"/>
                <a:gd name="T51" fmla="*/ 186 h 320"/>
                <a:gd name="T52" fmla="*/ 142 w 388"/>
                <a:gd name="T53" fmla="*/ 190 h 320"/>
                <a:gd name="T54" fmla="*/ 182 w 388"/>
                <a:gd name="T55" fmla="*/ 162 h 320"/>
                <a:gd name="T56" fmla="*/ 192 w 388"/>
                <a:gd name="T57" fmla="*/ 128 h 320"/>
                <a:gd name="T58" fmla="*/ 174 w 388"/>
                <a:gd name="T59" fmla="*/ 84 h 320"/>
                <a:gd name="T60" fmla="*/ 130 w 388"/>
                <a:gd name="T61" fmla="*/ 66 h 320"/>
                <a:gd name="T62" fmla="*/ 120 w 388"/>
                <a:gd name="T63" fmla="*/ 152 h 320"/>
                <a:gd name="T64" fmla="*/ 102 w 388"/>
                <a:gd name="T65" fmla="*/ 128 h 320"/>
                <a:gd name="T66" fmla="*/ 130 w 388"/>
                <a:gd name="T67" fmla="*/ 102 h 320"/>
                <a:gd name="T68" fmla="*/ 154 w 388"/>
                <a:gd name="T69" fmla="*/ 118 h 320"/>
                <a:gd name="T70" fmla="*/ 148 w 388"/>
                <a:gd name="T71" fmla="*/ 148 h 320"/>
                <a:gd name="T72" fmla="*/ 370 w 388"/>
                <a:gd name="T73" fmla="*/ 248 h 320"/>
                <a:gd name="T74" fmla="*/ 364 w 388"/>
                <a:gd name="T75" fmla="*/ 214 h 320"/>
                <a:gd name="T76" fmla="*/ 320 w 388"/>
                <a:gd name="T77" fmla="*/ 162 h 320"/>
                <a:gd name="T78" fmla="*/ 286 w 388"/>
                <a:gd name="T79" fmla="*/ 186 h 320"/>
                <a:gd name="T80" fmla="*/ 260 w 388"/>
                <a:gd name="T81" fmla="*/ 208 h 320"/>
                <a:gd name="T82" fmla="*/ 236 w 388"/>
                <a:gd name="T83" fmla="*/ 272 h 320"/>
                <a:gd name="T84" fmla="*/ 274 w 388"/>
                <a:gd name="T85" fmla="*/ 290 h 320"/>
                <a:gd name="T86" fmla="*/ 306 w 388"/>
                <a:gd name="T87" fmla="*/ 302 h 320"/>
                <a:gd name="T88" fmla="*/ 372 w 388"/>
                <a:gd name="T89" fmla="*/ 290 h 320"/>
                <a:gd name="T90" fmla="*/ 370 w 388"/>
                <a:gd name="T91" fmla="*/ 248 h 320"/>
                <a:gd name="T92" fmla="*/ 310 w 388"/>
                <a:gd name="T93" fmla="*/ 266 h 320"/>
                <a:gd name="T94" fmla="*/ 288 w 388"/>
                <a:gd name="T95" fmla="*/ 252 h 320"/>
                <a:gd name="T96" fmla="*/ 300 w 388"/>
                <a:gd name="T97" fmla="*/ 220 h 320"/>
                <a:gd name="T98" fmla="*/ 326 w 388"/>
                <a:gd name="T99" fmla="*/ 224 h 320"/>
                <a:gd name="T100" fmla="*/ 332 w 388"/>
                <a:gd name="T101" fmla="*/ 25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8" h="320">
                  <a:moveTo>
                    <a:pt x="258" y="148"/>
                  </a:moveTo>
                  <a:lnTo>
                    <a:pt x="258" y="108"/>
                  </a:lnTo>
                  <a:lnTo>
                    <a:pt x="234" y="108"/>
                  </a:lnTo>
                  <a:lnTo>
                    <a:pt x="234" y="108"/>
                  </a:lnTo>
                  <a:lnTo>
                    <a:pt x="226" y="88"/>
                  </a:lnTo>
                  <a:lnTo>
                    <a:pt x="216" y="70"/>
                  </a:lnTo>
                  <a:lnTo>
                    <a:pt x="236" y="52"/>
                  </a:lnTo>
                  <a:lnTo>
                    <a:pt x="206" y="22"/>
                  </a:lnTo>
                  <a:lnTo>
                    <a:pt x="188" y="40"/>
                  </a:lnTo>
                  <a:lnTo>
                    <a:pt x="188" y="40"/>
                  </a:lnTo>
                  <a:lnTo>
                    <a:pt x="170" y="30"/>
                  </a:lnTo>
                  <a:lnTo>
                    <a:pt x="150" y="24"/>
                  </a:lnTo>
                  <a:lnTo>
                    <a:pt x="150" y="0"/>
                  </a:lnTo>
                  <a:lnTo>
                    <a:pt x="110" y="0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90" y="30"/>
                  </a:lnTo>
                  <a:lnTo>
                    <a:pt x="70" y="40"/>
                  </a:lnTo>
                  <a:lnTo>
                    <a:pt x="52" y="22"/>
                  </a:lnTo>
                  <a:lnTo>
                    <a:pt x="24" y="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32" y="88"/>
                  </a:lnTo>
                  <a:lnTo>
                    <a:pt x="26" y="108"/>
                  </a:lnTo>
                  <a:lnTo>
                    <a:pt x="0" y="108"/>
                  </a:lnTo>
                  <a:lnTo>
                    <a:pt x="0" y="148"/>
                  </a:lnTo>
                  <a:lnTo>
                    <a:pt x="26" y="148"/>
                  </a:lnTo>
                  <a:lnTo>
                    <a:pt x="26" y="148"/>
                  </a:lnTo>
                  <a:lnTo>
                    <a:pt x="32" y="168"/>
                  </a:lnTo>
                  <a:lnTo>
                    <a:pt x="42" y="188"/>
                  </a:lnTo>
                  <a:lnTo>
                    <a:pt x="24" y="206"/>
                  </a:lnTo>
                  <a:lnTo>
                    <a:pt x="52" y="234"/>
                  </a:lnTo>
                  <a:lnTo>
                    <a:pt x="70" y="216"/>
                  </a:lnTo>
                  <a:lnTo>
                    <a:pt x="70" y="216"/>
                  </a:lnTo>
                  <a:lnTo>
                    <a:pt x="90" y="226"/>
                  </a:lnTo>
                  <a:lnTo>
                    <a:pt x="110" y="232"/>
                  </a:lnTo>
                  <a:lnTo>
                    <a:pt x="110" y="258"/>
                  </a:lnTo>
                  <a:lnTo>
                    <a:pt x="150" y="258"/>
                  </a:lnTo>
                  <a:lnTo>
                    <a:pt x="150" y="232"/>
                  </a:lnTo>
                  <a:lnTo>
                    <a:pt x="150" y="232"/>
                  </a:lnTo>
                  <a:lnTo>
                    <a:pt x="170" y="226"/>
                  </a:lnTo>
                  <a:lnTo>
                    <a:pt x="188" y="216"/>
                  </a:lnTo>
                  <a:lnTo>
                    <a:pt x="206" y="234"/>
                  </a:lnTo>
                  <a:lnTo>
                    <a:pt x="236" y="206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26" y="168"/>
                  </a:lnTo>
                  <a:lnTo>
                    <a:pt x="234" y="148"/>
                  </a:lnTo>
                  <a:lnTo>
                    <a:pt x="258" y="148"/>
                  </a:lnTo>
                  <a:close/>
                  <a:moveTo>
                    <a:pt x="130" y="210"/>
                  </a:moveTo>
                  <a:lnTo>
                    <a:pt x="130" y="210"/>
                  </a:lnTo>
                  <a:lnTo>
                    <a:pt x="114" y="208"/>
                  </a:lnTo>
                  <a:lnTo>
                    <a:pt x="98" y="204"/>
                  </a:lnTo>
                  <a:lnTo>
                    <a:pt x="84" y="196"/>
                  </a:lnTo>
                  <a:lnTo>
                    <a:pt x="72" y="186"/>
                  </a:lnTo>
                  <a:lnTo>
                    <a:pt x="62" y="174"/>
                  </a:lnTo>
                  <a:lnTo>
                    <a:pt x="54" y="160"/>
                  </a:lnTo>
                  <a:lnTo>
                    <a:pt x="50" y="144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0" y="112"/>
                  </a:lnTo>
                  <a:lnTo>
                    <a:pt x="54" y="96"/>
                  </a:lnTo>
                  <a:lnTo>
                    <a:pt x="62" y="82"/>
                  </a:lnTo>
                  <a:lnTo>
                    <a:pt x="72" y="70"/>
                  </a:lnTo>
                  <a:lnTo>
                    <a:pt x="84" y="60"/>
                  </a:lnTo>
                  <a:lnTo>
                    <a:pt x="98" y="52"/>
                  </a:lnTo>
                  <a:lnTo>
                    <a:pt x="114" y="48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46" y="48"/>
                  </a:lnTo>
                  <a:lnTo>
                    <a:pt x="162" y="52"/>
                  </a:lnTo>
                  <a:lnTo>
                    <a:pt x="176" y="60"/>
                  </a:lnTo>
                  <a:lnTo>
                    <a:pt x="188" y="70"/>
                  </a:lnTo>
                  <a:lnTo>
                    <a:pt x="198" y="82"/>
                  </a:lnTo>
                  <a:lnTo>
                    <a:pt x="206" y="96"/>
                  </a:lnTo>
                  <a:lnTo>
                    <a:pt x="210" y="112"/>
                  </a:lnTo>
                  <a:lnTo>
                    <a:pt x="212" y="128"/>
                  </a:lnTo>
                  <a:lnTo>
                    <a:pt x="212" y="128"/>
                  </a:lnTo>
                  <a:lnTo>
                    <a:pt x="210" y="144"/>
                  </a:lnTo>
                  <a:lnTo>
                    <a:pt x="206" y="160"/>
                  </a:lnTo>
                  <a:lnTo>
                    <a:pt x="198" y="174"/>
                  </a:lnTo>
                  <a:lnTo>
                    <a:pt x="188" y="186"/>
                  </a:lnTo>
                  <a:lnTo>
                    <a:pt x="176" y="196"/>
                  </a:lnTo>
                  <a:lnTo>
                    <a:pt x="162" y="204"/>
                  </a:lnTo>
                  <a:lnTo>
                    <a:pt x="146" y="208"/>
                  </a:lnTo>
                  <a:lnTo>
                    <a:pt x="130" y="210"/>
                  </a:lnTo>
                  <a:lnTo>
                    <a:pt x="130" y="210"/>
                  </a:lnTo>
                  <a:close/>
                  <a:moveTo>
                    <a:pt x="130" y="66"/>
                  </a:moveTo>
                  <a:lnTo>
                    <a:pt x="130" y="66"/>
                  </a:lnTo>
                  <a:lnTo>
                    <a:pt x="118" y="68"/>
                  </a:lnTo>
                  <a:lnTo>
                    <a:pt x="106" y="70"/>
                  </a:lnTo>
                  <a:lnTo>
                    <a:pt x="94" y="76"/>
                  </a:lnTo>
                  <a:lnTo>
                    <a:pt x="86" y="84"/>
                  </a:lnTo>
                  <a:lnTo>
                    <a:pt x="78" y="94"/>
                  </a:lnTo>
                  <a:lnTo>
                    <a:pt x="72" y="104"/>
                  </a:lnTo>
                  <a:lnTo>
                    <a:pt x="68" y="116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40"/>
                  </a:lnTo>
                  <a:lnTo>
                    <a:pt x="72" y="152"/>
                  </a:lnTo>
                  <a:lnTo>
                    <a:pt x="78" y="162"/>
                  </a:lnTo>
                  <a:lnTo>
                    <a:pt x="86" y="172"/>
                  </a:lnTo>
                  <a:lnTo>
                    <a:pt x="94" y="180"/>
                  </a:lnTo>
                  <a:lnTo>
                    <a:pt x="106" y="186"/>
                  </a:lnTo>
                  <a:lnTo>
                    <a:pt x="118" y="190"/>
                  </a:lnTo>
                  <a:lnTo>
                    <a:pt x="130" y="190"/>
                  </a:lnTo>
                  <a:lnTo>
                    <a:pt x="130" y="190"/>
                  </a:lnTo>
                  <a:lnTo>
                    <a:pt x="142" y="190"/>
                  </a:lnTo>
                  <a:lnTo>
                    <a:pt x="154" y="186"/>
                  </a:lnTo>
                  <a:lnTo>
                    <a:pt x="164" y="180"/>
                  </a:lnTo>
                  <a:lnTo>
                    <a:pt x="174" y="172"/>
                  </a:lnTo>
                  <a:lnTo>
                    <a:pt x="182" y="162"/>
                  </a:lnTo>
                  <a:lnTo>
                    <a:pt x="188" y="152"/>
                  </a:lnTo>
                  <a:lnTo>
                    <a:pt x="190" y="140"/>
                  </a:lnTo>
                  <a:lnTo>
                    <a:pt x="192" y="128"/>
                  </a:lnTo>
                  <a:lnTo>
                    <a:pt x="192" y="128"/>
                  </a:lnTo>
                  <a:lnTo>
                    <a:pt x="190" y="116"/>
                  </a:lnTo>
                  <a:lnTo>
                    <a:pt x="188" y="104"/>
                  </a:lnTo>
                  <a:lnTo>
                    <a:pt x="182" y="94"/>
                  </a:lnTo>
                  <a:lnTo>
                    <a:pt x="174" y="84"/>
                  </a:lnTo>
                  <a:lnTo>
                    <a:pt x="164" y="76"/>
                  </a:lnTo>
                  <a:lnTo>
                    <a:pt x="154" y="70"/>
                  </a:lnTo>
                  <a:lnTo>
                    <a:pt x="142" y="68"/>
                  </a:lnTo>
                  <a:lnTo>
                    <a:pt x="130" y="66"/>
                  </a:lnTo>
                  <a:lnTo>
                    <a:pt x="130" y="66"/>
                  </a:lnTo>
                  <a:close/>
                  <a:moveTo>
                    <a:pt x="130" y="156"/>
                  </a:moveTo>
                  <a:lnTo>
                    <a:pt x="130" y="156"/>
                  </a:lnTo>
                  <a:lnTo>
                    <a:pt x="120" y="152"/>
                  </a:lnTo>
                  <a:lnTo>
                    <a:pt x="110" y="148"/>
                  </a:lnTo>
                  <a:lnTo>
                    <a:pt x="104" y="138"/>
                  </a:lnTo>
                  <a:lnTo>
                    <a:pt x="102" y="128"/>
                  </a:lnTo>
                  <a:lnTo>
                    <a:pt x="102" y="128"/>
                  </a:lnTo>
                  <a:lnTo>
                    <a:pt x="104" y="118"/>
                  </a:lnTo>
                  <a:lnTo>
                    <a:pt x="110" y="110"/>
                  </a:lnTo>
                  <a:lnTo>
                    <a:pt x="120" y="104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40" y="104"/>
                  </a:lnTo>
                  <a:lnTo>
                    <a:pt x="148" y="110"/>
                  </a:lnTo>
                  <a:lnTo>
                    <a:pt x="154" y="118"/>
                  </a:lnTo>
                  <a:lnTo>
                    <a:pt x="156" y="128"/>
                  </a:lnTo>
                  <a:lnTo>
                    <a:pt x="156" y="128"/>
                  </a:lnTo>
                  <a:lnTo>
                    <a:pt x="154" y="138"/>
                  </a:lnTo>
                  <a:lnTo>
                    <a:pt x="148" y="148"/>
                  </a:lnTo>
                  <a:lnTo>
                    <a:pt x="140" y="152"/>
                  </a:lnTo>
                  <a:lnTo>
                    <a:pt x="130" y="156"/>
                  </a:lnTo>
                  <a:lnTo>
                    <a:pt x="130" y="156"/>
                  </a:lnTo>
                  <a:close/>
                  <a:moveTo>
                    <a:pt x="370" y="248"/>
                  </a:moveTo>
                  <a:lnTo>
                    <a:pt x="388" y="244"/>
                  </a:lnTo>
                  <a:lnTo>
                    <a:pt x="382" y="212"/>
                  </a:lnTo>
                  <a:lnTo>
                    <a:pt x="364" y="214"/>
                  </a:lnTo>
                  <a:lnTo>
                    <a:pt x="364" y="214"/>
                  </a:lnTo>
                  <a:lnTo>
                    <a:pt x="356" y="202"/>
                  </a:lnTo>
                  <a:lnTo>
                    <a:pt x="346" y="192"/>
                  </a:lnTo>
                  <a:lnTo>
                    <a:pt x="352" y="174"/>
                  </a:lnTo>
                  <a:lnTo>
                    <a:pt x="320" y="162"/>
                  </a:lnTo>
                  <a:lnTo>
                    <a:pt x="314" y="180"/>
                  </a:lnTo>
                  <a:lnTo>
                    <a:pt x="314" y="180"/>
                  </a:lnTo>
                  <a:lnTo>
                    <a:pt x="300" y="182"/>
                  </a:lnTo>
                  <a:lnTo>
                    <a:pt x="286" y="186"/>
                  </a:lnTo>
                  <a:lnTo>
                    <a:pt x="272" y="172"/>
                  </a:lnTo>
                  <a:lnTo>
                    <a:pt x="246" y="194"/>
                  </a:lnTo>
                  <a:lnTo>
                    <a:pt x="260" y="208"/>
                  </a:lnTo>
                  <a:lnTo>
                    <a:pt x="260" y="208"/>
                  </a:lnTo>
                  <a:lnTo>
                    <a:pt x="252" y="220"/>
                  </a:lnTo>
                  <a:lnTo>
                    <a:pt x="250" y="234"/>
                  </a:lnTo>
                  <a:lnTo>
                    <a:pt x="230" y="238"/>
                  </a:lnTo>
                  <a:lnTo>
                    <a:pt x="236" y="272"/>
                  </a:lnTo>
                  <a:lnTo>
                    <a:pt x="256" y="268"/>
                  </a:lnTo>
                  <a:lnTo>
                    <a:pt x="256" y="268"/>
                  </a:lnTo>
                  <a:lnTo>
                    <a:pt x="264" y="280"/>
                  </a:lnTo>
                  <a:lnTo>
                    <a:pt x="274" y="290"/>
                  </a:lnTo>
                  <a:lnTo>
                    <a:pt x="268" y="308"/>
                  </a:lnTo>
                  <a:lnTo>
                    <a:pt x="300" y="320"/>
                  </a:lnTo>
                  <a:lnTo>
                    <a:pt x="306" y="302"/>
                  </a:lnTo>
                  <a:lnTo>
                    <a:pt x="306" y="302"/>
                  </a:lnTo>
                  <a:lnTo>
                    <a:pt x="320" y="302"/>
                  </a:lnTo>
                  <a:lnTo>
                    <a:pt x="334" y="298"/>
                  </a:lnTo>
                  <a:lnTo>
                    <a:pt x="346" y="312"/>
                  </a:lnTo>
                  <a:lnTo>
                    <a:pt x="372" y="290"/>
                  </a:lnTo>
                  <a:lnTo>
                    <a:pt x="360" y="276"/>
                  </a:lnTo>
                  <a:lnTo>
                    <a:pt x="360" y="276"/>
                  </a:lnTo>
                  <a:lnTo>
                    <a:pt x="366" y="262"/>
                  </a:lnTo>
                  <a:lnTo>
                    <a:pt x="370" y="248"/>
                  </a:lnTo>
                  <a:lnTo>
                    <a:pt x="370" y="248"/>
                  </a:lnTo>
                  <a:close/>
                  <a:moveTo>
                    <a:pt x="320" y="264"/>
                  </a:moveTo>
                  <a:lnTo>
                    <a:pt x="320" y="264"/>
                  </a:lnTo>
                  <a:lnTo>
                    <a:pt x="310" y="266"/>
                  </a:lnTo>
                  <a:lnTo>
                    <a:pt x="302" y="264"/>
                  </a:lnTo>
                  <a:lnTo>
                    <a:pt x="294" y="260"/>
                  </a:lnTo>
                  <a:lnTo>
                    <a:pt x="288" y="252"/>
                  </a:lnTo>
                  <a:lnTo>
                    <a:pt x="288" y="252"/>
                  </a:lnTo>
                  <a:lnTo>
                    <a:pt x="286" y="242"/>
                  </a:lnTo>
                  <a:lnTo>
                    <a:pt x="288" y="234"/>
                  </a:lnTo>
                  <a:lnTo>
                    <a:pt x="292" y="226"/>
                  </a:lnTo>
                  <a:lnTo>
                    <a:pt x="300" y="220"/>
                  </a:lnTo>
                  <a:lnTo>
                    <a:pt x="300" y="220"/>
                  </a:lnTo>
                  <a:lnTo>
                    <a:pt x="308" y="218"/>
                  </a:lnTo>
                  <a:lnTo>
                    <a:pt x="318" y="220"/>
                  </a:lnTo>
                  <a:lnTo>
                    <a:pt x="326" y="224"/>
                  </a:lnTo>
                  <a:lnTo>
                    <a:pt x="332" y="232"/>
                  </a:lnTo>
                  <a:lnTo>
                    <a:pt x="332" y="232"/>
                  </a:lnTo>
                  <a:lnTo>
                    <a:pt x="334" y="240"/>
                  </a:lnTo>
                  <a:lnTo>
                    <a:pt x="332" y="250"/>
                  </a:lnTo>
                  <a:lnTo>
                    <a:pt x="328" y="258"/>
                  </a:lnTo>
                  <a:lnTo>
                    <a:pt x="320" y="264"/>
                  </a:lnTo>
                  <a:lnTo>
                    <a:pt x="320" y="264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wrap="square" lIns="91202" tIns="45601" rIns="91202" bIns="45601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sp>
        <p:nvSpPr>
          <p:cNvPr id="39" name="Rectangle 489">
            <a:extLst>
              <a:ext uri="{FF2B5EF4-FFF2-40B4-BE49-F238E27FC236}">
                <a16:creationId xmlns:a16="http://schemas.microsoft.com/office/drawing/2014/main" id="{C5F0B63F-1F5C-4E10-9FBB-79CF63FD35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2453" y="2160697"/>
            <a:ext cx="3040234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spcAft>
                <a:spcPts val="598"/>
              </a:spcAft>
            </a:pPr>
            <a:r>
              <a:rPr lang="en-GB" alt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ler </a:t>
            </a:r>
            <a:r>
              <a:rPr lang="en-GB" alt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cnico</a:t>
            </a:r>
            <a:endParaRPr lang="en-GB" alt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>
              <a:spcAft>
                <a:spcPts val="598"/>
              </a:spcAft>
            </a:pPr>
            <a:endParaRPr lang="en-GB" alt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>
              <a:spcAft>
                <a:spcPts val="598"/>
              </a:spcAft>
            </a:pPr>
            <a:endParaRPr lang="en-GB" alt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>
              <a:spcAft>
                <a:spcPts val="598"/>
              </a:spcAft>
            </a:pPr>
            <a:r>
              <a:rPr lang="en-GB" alt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/12/2023  </a:t>
            </a:r>
          </a:p>
        </p:txBody>
      </p:sp>
      <p:sp>
        <p:nvSpPr>
          <p:cNvPr id="40" name="Rectangle 489">
            <a:extLst>
              <a:ext uri="{FF2B5EF4-FFF2-40B4-BE49-F238E27FC236}">
                <a16:creationId xmlns:a16="http://schemas.microsoft.com/office/drawing/2014/main" id="{1827993A-8AF1-45B6-B51D-30C6B588D5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0947" y="2166876"/>
            <a:ext cx="2911137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448095" eaLnBrk="0" hangingPunct="0">
              <a:buClr>
                <a:srgbClr val="000000"/>
              </a:buClr>
              <a:buSzPct val="100000"/>
            </a:pPr>
            <a:r>
              <a:rPr lang="en-GB" altLang="ru-RU" sz="1600" b="1" dirty="0" err="1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Recepción</a:t>
            </a:r>
            <a:r>
              <a:rPr lang="en-GB" altLang="ru-RU" sz="1600" b="1" dirty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 de </a:t>
            </a:r>
            <a:r>
              <a:rPr lang="en-GB" altLang="ru-RU" sz="1600" b="1" dirty="0" err="1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propuestas</a:t>
            </a:r>
            <a:r>
              <a:rPr lang="en-GB" altLang="ru-RU" sz="1600" b="1" dirty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</a:p>
          <a:p>
            <a:pPr defTabSz="448095" eaLnBrk="0" hangingPunct="0">
              <a:buClr>
                <a:srgbClr val="000000"/>
              </a:buClr>
              <a:buSzPct val="100000"/>
            </a:pPr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60 días naturales a </a:t>
            </a:r>
            <a:r>
              <a:rPr lang="en-GB" altLang="ru-RU" sz="1600" dirty="0" err="1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contar</a:t>
            </a:r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  </a:t>
            </a:r>
            <a:r>
              <a:rPr lang="en-GB" altLang="ru-RU" sz="1600" dirty="0" err="1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desde</a:t>
            </a:r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 la </a:t>
            </a:r>
            <a:r>
              <a:rPr lang="en-GB" altLang="ru-RU" sz="1600" dirty="0" err="1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publicación</a:t>
            </a:r>
            <a:endParaRPr lang="en-GB" altLang="ru-RU" sz="1600" dirty="0">
              <a:solidFill>
                <a:schemeClr val="bg1"/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defTabSz="448095" eaLnBrk="0" hangingPunct="0">
              <a:buClr>
                <a:srgbClr val="000000"/>
              </a:buClr>
              <a:buSzPct val="100000"/>
            </a:pPr>
            <a:endParaRPr lang="en-GB" altLang="ru-RU" sz="1600" dirty="0">
              <a:solidFill>
                <a:schemeClr val="bg1"/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defTabSz="448095" eaLnBrk="0" hangingPunct="0">
              <a:buClr>
                <a:srgbClr val="000000"/>
              </a:buClr>
              <a:buSzPct val="100000"/>
            </a:pPr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09/02/2024</a:t>
            </a:r>
          </a:p>
        </p:txBody>
      </p:sp>
      <p:grpSp>
        <p:nvGrpSpPr>
          <p:cNvPr id="41" name="Group 7">
            <a:extLst>
              <a:ext uri="{FF2B5EF4-FFF2-40B4-BE49-F238E27FC236}">
                <a16:creationId xmlns:a16="http://schemas.microsoft.com/office/drawing/2014/main" id="{EE7136A1-2352-4347-A171-10A2D9696856}"/>
              </a:ext>
            </a:extLst>
          </p:cNvPr>
          <p:cNvGrpSpPr/>
          <p:nvPr/>
        </p:nvGrpSpPr>
        <p:grpSpPr>
          <a:xfrm>
            <a:off x="8164462" y="2099294"/>
            <a:ext cx="705278" cy="708086"/>
            <a:chOff x="3657463" y="2431514"/>
            <a:chExt cx="707119" cy="709935"/>
          </a:xfrm>
        </p:grpSpPr>
        <p:sp>
          <p:nvSpPr>
            <p:cNvPr id="42" name="Oval 509">
              <a:extLst>
                <a:ext uri="{FF2B5EF4-FFF2-40B4-BE49-F238E27FC236}">
                  <a16:creationId xmlns:a16="http://schemas.microsoft.com/office/drawing/2014/main" id="{5B845E1B-1E09-43C7-9ECD-996248DA03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7463" y="2431514"/>
              <a:ext cx="707119" cy="709935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202" tIns="45601" rIns="91202" bIns="45601" numCol="1" anchor="t" anchorCtr="0" compatLnSpc="1">
              <a:prstTxWarp prst="textNoShape">
                <a:avLst/>
              </a:prstTxWarp>
            </a:bodyPr>
            <a:lstStyle/>
            <a:p>
              <a:pPr defTabSz="448095">
                <a:buClr>
                  <a:srgbClr val="000000"/>
                </a:buClr>
                <a:buSzPct val="100000"/>
                <a:defRPr/>
              </a:pPr>
              <a:endParaRPr lang="en-GB" kern="0" dirty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3" name="Freeform 513">
              <a:extLst>
                <a:ext uri="{FF2B5EF4-FFF2-40B4-BE49-F238E27FC236}">
                  <a16:creationId xmlns:a16="http://schemas.microsoft.com/office/drawing/2014/main" id="{F48B8DC4-7F6F-4BA4-8DF2-8D0CAA742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8983" y="2553079"/>
              <a:ext cx="437741" cy="418104"/>
            </a:xfrm>
            <a:custGeom>
              <a:avLst/>
              <a:gdLst>
                <a:gd name="T0" fmla="*/ 75 w 132"/>
                <a:gd name="T1" fmla="*/ 29 h 126"/>
                <a:gd name="T2" fmla="*/ 72 w 132"/>
                <a:gd name="T3" fmla="*/ 22 h 126"/>
                <a:gd name="T4" fmla="*/ 66 w 132"/>
                <a:gd name="T5" fmla="*/ 18 h 126"/>
                <a:gd name="T6" fmla="*/ 60 w 132"/>
                <a:gd name="T7" fmla="*/ 17 h 126"/>
                <a:gd name="T8" fmla="*/ 53 w 132"/>
                <a:gd name="T9" fmla="*/ 20 h 126"/>
                <a:gd name="T10" fmla="*/ 49 w 132"/>
                <a:gd name="T11" fmla="*/ 26 h 126"/>
                <a:gd name="T12" fmla="*/ 48 w 132"/>
                <a:gd name="T13" fmla="*/ 32 h 126"/>
                <a:gd name="T14" fmla="*/ 51 w 132"/>
                <a:gd name="T15" fmla="*/ 39 h 126"/>
                <a:gd name="T16" fmla="*/ 56 w 132"/>
                <a:gd name="T17" fmla="*/ 43 h 126"/>
                <a:gd name="T18" fmla="*/ 63 w 132"/>
                <a:gd name="T19" fmla="*/ 44 h 126"/>
                <a:gd name="T20" fmla="*/ 70 w 132"/>
                <a:gd name="T21" fmla="*/ 41 h 126"/>
                <a:gd name="T22" fmla="*/ 74 w 132"/>
                <a:gd name="T23" fmla="*/ 35 h 126"/>
                <a:gd name="T24" fmla="*/ 51 w 132"/>
                <a:gd name="T25" fmla="*/ 31 h 126"/>
                <a:gd name="T26" fmla="*/ 51 w 132"/>
                <a:gd name="T27" fmla="*/ 31 h 126"/>
                <a:gd name="T28" fmla="*/ 61 w 132"/>
                <a:gd name="T29" fmla="*/ 40 h 126"/>
                <a:gd name="T30" fmla="*/ 61 w 132"/>
                <a:gd name="T31" fmla="*/ 40 h 126"/>
                <a:gd name="T32" fmla="*/ 97 w 132"/>
                <a:gd name="T33" fmla="*/ 6 h 126"/>
                <a:gd name="T34" fmla="*/ 91 w 132"/>
                <a:gd name="T35" fmla="*/ 3 h 126"/>
                <a:gd name="T36" fmla="*/ 84 w 132"/>
                <a:gd name="T37" fmla="*/ 4 h 126"/>
                <a:gd name="T38" fmla="*/ 78 w 132"/>
                <a:gd name="T39" fmla="*/ 8 h 126"/>
                <a:gd name="T40" fmla="*/ 75 w 132"/>
                <a:gd name="T41" fmla="*/ 14 h 126"/>
                <a:gd name="T42" fmla="*/ 76 w 132"/>
                <a:gd name="T43" fmla="*/ 21 h 126"/>
                <a:gd name="T44" fmla="*/ 80 w 132"/>
                <a:gd name="T45" fmla="*/ 26 h 126"/>
                <a:gd name="T46" fmla="*/ 86 w 132"/>
                <a:gd name="T47" fmla="*/ 29 h 126"/>
                <a:gd name="T48" fmla="*/ 93 w 132"/>
                <a:gd name="T49" fmla="*/ 29 h 126"/>
                <a:gd name="T50" fmla="*/ 99 w 132"/>
                <a:gd name="T51" fmla="*/ 25 h 126"/>
                <a:gd name="T52" fmla="*/ 101 w 132"/>
                <a:gd name="T53" fmla="*/ 18 h 126"/>
                <a:gd name="T54" fmla="*/ 101 w 132"/>
                <a:gd name="T55" fmla="*/ 12 h 126"/>
                <a:gd name="T56" fmla="*/ 80 w 132"/>
                <a:gd name="T57" fmla="*/ 23 h 126"/>
                <a:gd name="T58" fmla="*/ 81 w 132"/>
                <a:gd name="T59" fmla="*/ 23 h 126"/>
                <a:gd name="T60" fmla="*/ 95 w 132"/>
                <a:gd name="T61" fmla="*/ 23 h 126"/>
                <a:gd name="T62" fmla="*/ 95 w 132"/>
                <a:gd name="T63" fmla="*/ 23 h 126"/>
                <a:gd name="T64" fmla="*/ 98 w 132"/>
                <a:gd name="T65" fmla="*/ 40 h 126"/>
                <a:gd name="T66" fmla="*/ 92 w 132"/>
                <a:gd name="T67" fmla="*/ 36 h 126"/>
                <a:gd name="T68" fmla="*/ 85 w 132"/>
                <a:gd name="T69" fmla="*/ 35 h 126"/>
                <a:gd name="T70" fmla="*/ 77 w 132"/>
                <a:gd name="T71" fmla="*/ 38 h 126"/>
                <a:gd name="T72" fmla="*/ 73 w 132"/>
                <a:gd name="T73" fmla="*/ 44 h 126"/>
                <a:gd name="T74" fmla="*/ 72 w 132"/>
                <a:gd name="T75" fmla="*/ 52 h 126"/>
                <a:gd name="T76" fmla="*/ 75 w 132"/>
                <a:gd name="T77" fmla="*/ 59 h 126"/>
                <a:gd name="T78" fmla="*/ 81 w 132"/>
                <a:gd name="T79" fmla="*/ 64 h 126"/>
                <a:gd name="T80" fmla="*/ 89 w 132"/>
                <a:gd name="T81" fmla="*/ 64 h 126"/>
                <a:gd name="T82" fmla="*/ 96 w 132"/>
                <a:gd name="T83" fmla="*/ 61 h 126"/>
                <a:gd name="T84" fmla="*/ 101 w 132"/>
                <a:gd name="T85" fmla="*/ 55 h 126"/>
                <a:gd name="T86" fmla="*/ 102 w 132"/>
                <a:gd name="T87" fmla="*/ 47 h 126"/>
                <a:gd name="T88" fmla="*/ 77 w 132"/>
                <a:gd name="T89" fmla="*/ 56 h 126"/>
                <a:gd name="T90" fmla="*/ 77 w 132"/>
                <a:gd name="T91" fmla="*/ 55 h 126"/>
                <a:gd name="T92" fmla="*/ 92 w 132"/>
                <a:gd name="T93" fmla="*/ 59 h 126"/>
                <a:gd name="T94" fmla="*/ 92 w 132"/>
                <a:gd name="T95" fmla="*/ 59 h 126"/>
                <a:gd name="T96" fmla="*/ 43 w 132"/>
                <a:gd name="T97" fmla="*/ 114 h 126"/>
                <a:gd name="T98" fmla="*/ 30 w 132"/>
                <a:gd name="T99" fmla="*/ 82 h 126"/>
                <a:gd name="T100" fmla="*/ 63 w 132"/>
                <a:gd name="T101" fmla="*/ 102 h 126"/>
                <a:gd name="T102" fmla="*/ 40 w 132"/>
                <a:gd name="T103" fmla="*/ 80 h 126"/>
                <a:gd name="T104" fmla="*/ 101 w 132"/>
                <a:gd name="T105" fmla="*/ 82 h 126"/>
                <a:gd name="T106" fmla="*/ 126 w 132"/>
                <a:gd name="T107" fmla="*/ 7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2" h="126">
                  <a:moveTo>
                    <a:pt x="75" y="32"/>
                  </a:moveTo>
                  <a:cubicBezTo>
                    <a:pt x="78" y="32"/>
                    <a:pt x="78" y="32"/>
                    <a:pt x="78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8"/>
                    <a:pt x="74" y="27"/>
                    <a:pt x="74" y="26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1" y="21"/>
                    <a:pt x="71" y="21"/>
                    <a:pt x="70" y="20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5" y="18"/>
                    <a:pt x="64" y="17"/>
                    <a:pt x="63" y="17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8" y="17"/>
                    <a:pt x="57" y="18"/>
                    <a:pt x="56" y="18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2" y="21"/>
                    <a:pt x="52" y="21"/>
                    <a:pt x="51" y="22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7"/>
                    <a:pt x="48" y="28"/>
                    <a:pt x="48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3"/>
                    <a:pt x="49" y="35"/>
                    <a:pt x="49" y="35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8" y="40"/>
                    <a:pt x="48" y="40"/>
                    <a:pt x="48" y="40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2" y="40"/>
                    <a:pt x="52" y="40"/>
                    <a:pt x="53" y="41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7" y="43"/>
                    <a:pt x="58" y="44"/>
                    <a:pt x="60" y="44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4" y="44"/>
                    <a:pt x="65" y="43"/>
                    <a:pt x="66" y="43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1" y="40"/>
                    <a:pt x="71" y="40"/>
                    <a:pt x="72" y="39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5"/>
                    <a:pt x="75" y="33"/>
                    <a:pt x="75" y="32"/>
                  </a:cubicBezTo>
                  <a:close/>
                  <a:moveTo>
                    <a:pt x="72" y="31"/>
                  </a:moveTo>
                  <a:cubicBezTo>
                    <a:pt x="72" y="36"/>
                    <a:pt x="67" y="41"/>
                    <a:pt x="61" y="41"/>
                  </a:cubicBezTo>
                  <a:cubicBezTo>
                    <a:pt x="56" y="41"/>
                    <a:pt x="51" y="36"/>
                    <a:pt x="51" y="31"/>
                  </a:cubicBezTo>
                  <a:cubicBezTo>
                    <a:pt x="51" y="25"/>
                    <a:pt x="56" y="20"/>
                    <a:pt x="61" y="20"/>
                  </a:cubicBezTo>
                  <a:cubicBezTo>
                    <a:pt x="67" y="20"/>
                    <a:pt x="72" y="25"/>
                    <a:pt x="72" y="31"/>
                  </a:cubicBezTo>
                  <a:close/>
                  <a:moveTo>
                    <a:pt x="61" y="21"/>
                  </a:moveTo>
                  <a:cubicBezTo>
                    <a:pt x="56" y="21"/>
                    <a:pt x="51" y="25"/>
                    <a:pt x="51" y="31"/>
                  </a:cubicBezTo>
                  <a:cubicBezTo>
                    <a:pt x="51" y="36"/>
                    <a:pt x="56" y="41"/>
                    <a:pt x="61" y="41"/>
                  </a:cubicBezTo>
                  <a:cubicBezTo>
                    <a:pt x="67" y="41"/>
                    <a:pt x="71" y="36"/>
                    <a:pt x="71" y="31"/>
                  </a:cubicBezTo>
                  <a:cubicBezTo>
                    <a:pt x="71" y="25"/>
                    <a:pt x="67" y="21"/>
                    <a:pt x="61" y="21"/>
                  </a:cubicBezTo>
                  <a:close/>
                  <a:moveTo>
                    <a:pt x="61" y="40"/>
                  </a:moveTo>
                  <a:cubicBezTo>
                    <a:pt x="56" y="40"/>
                    <a:pt x="52" y="36"/>
                    <a:pt x="52" y="31"/>
                  </a:cubicBezTo>
                  <a:cubicBezTo>
                    <a:pt x="52" y="25"/>
                    <a:pt x="56" y="21"/>
                    <a:pt x="61" y="21"/>
                  </a:cubicBezTo>
                  <a:cubicBezTo>
                    <a:pt x="67" y="21"/>
                    <a:pt x="71" y="25"/>
                    <a:pt x="71" y="31"/>
                  </a:cubicBezTo>
                  <a:cubicBezTo>
                    <a:pt x="71" y="36"/>
                    <a:pt x="67" y="40"/>
                    <a:pt x="61" y="40"/>
                  </a:cubicBezTo>
                  <a:close/>
                  <a:moveTo>
                    <a:pt x="99" y="9"/>
                  </a:moveTo>
                  <a:cubicBezTo>
                    <a:pt x="101" y="6"/>
                    <a:pt x="101" y="6"/>
                    <a:pt x="101" y="6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6"/>
                    <a:pt x="97" y="6"/>
                    <a:pt x="97" y="6"/>
                  </a:cubicBezTo>
                  <a:cubicBezTo>
                    <a:pt x="96" y="5"/>
                    <a:pt x="95" y="5"/>
                    <a:pt x="94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90" y="3"/>
                    <a:pt x="89" y="3"/>
                    <a:pt x="87" y="3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4" y="1"/>
                    <a:pt x="84" y="1"/>
                    <a:pt x="84" y="1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3" y="4"/>
                    <a:pt x="82" y="4"/>
                    <a:pt x="81" y="5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76" y="5"/>
                    <a:pt x="76" y="5"/>
                    <a:pt x="76" y="5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7" y="8"/>
                    <a:pt x="77" y="9"/>
                    <a:pt x="76" y="10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5" y="14"/>
                    <a:pt x="75" y="14"/>
                    <a:pt x="75" y="14"/>
                  </a:cubicBezTo>
                  <a:cubicBezTo>
                    <a:pt x="75" y="15"/>
                    <a:pt x="75" y="16"/>
                    <a:pt x="75" y="17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2"/>
                    <a:pt x="77" y="23"/>
                    <a:pt x="77" y="23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1" y="27"/>
                    <a:pt x="81" y="28"/>
                    <a:pt x="82" y="28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7" y="29"/>
                    <a:pt x="88" y="29"/>
                    <a:pt x="89" y="29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4" y="28"/>
                    <a:pt x="95" y="28"/>
                    <a:pt x="96" y="27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99" y="24"/>
                    <a:pt x="100" y="23"/>
                    <a:pt x="100" y="22"/>
                  </a:cubicBezTo>
                  <a:cubicBezTo>
                    <a:pt x="103" y="23"/>
                    <a:pt x="103" y="23"/>
                    <a:pt x="103" y="23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2" y="17"/>
                    <a:pt x="102" y="16"/>
                    <a:pt x="102" y="15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4" y="11"/>
                    <a:pt x="104" y="11"/>
                    <a:pt x="104" y="11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1" y="11"/>
                    <a:pt x="100" y="10"/>
                    <a:pt x="99" y="9"/>
                  </a:cubicBezTo>
                  <a:close/>
                  <a:moveTo>
                    <a:pt x="96" y="9"/>
                  </a:moveTo>
                  <a:cubicBezTo>
                    <a:pt x="100" y="13"/>
                    <a:pt x="100" y="20"/>
                    <a:pt x="95" y="24"/>
                  </a:cubicBezTo>
                  <a:cubicBezTo>
                    <a:pt x="91" y="28"/>
                    <a:pt x="84" y="28"/>
                    <a:pt x="80" y="23"/>
                  </a:cubicBezTo>
                  <a:cubicBezTo>
                    <a:pt x="77" y="19"/>
                    <a:pt x="77" y="12"/>
                    <a:pt x="81" y="8"/>
                  </a:cubicBezTo>
                  <a:cubicBezTo>
                    <a:pt x="86" y="4"/>
                    <a:pt x="92" y="5"/>
                    <a:pt x="96" y="9"/>
                  </a:cubicBezTo>
                  <a:close/>
                  <a:moveTo>
                    <a:pt x="82" y="9"/>
                  </a:moveTo>
                  <a:cubicBezTo>
                    <a:pt x="78" y="12"/>
                    <a:pt x="77" y="19"/>
                    <a:pt x="81" y="23"/>
                  </a:cubicBezTo>
                  <a:cubicBezTo>
                    <a:pt x="85" y="27"/>
                    <a:pt x="91" y="27"/>
                    <a:pt x="95" y="24"/>
                  </a:cubicBezTo>
                  <a:cubicBezTo>
                    <a:pt x="99" y="20"/>
                    <a:pt x="99" y="14"/>
                    <a:pt x="96" y="9"/>
                  </a:cubicBezTo>
                  <a:cubicBezTo>
                    <a:pt x="92" y="5"/>
                    <a:pt x="86" y="5"/>
                    <a:pt x="82" y="9"/>
                  </a:cubicBezTo>
                  <a:close/>
                  <a:moveTo>
                    <a:pt x="95" y="23"/>
                  </a:moveTo>
                  <a:cubicBezTo>
                    <a:pt x="91" y="27"/>
                    <a:pt x="85" y="26"/>
                    <a:pt x="81" y="22"/>
                  </a:cubicBezTo>
                  <a:cubicBezTo>
                    <a:pt x="78" y="19"/>
                    <a:pt x="78" y="12"/>
                    <a:pt x="82" y="9"/>
                  </a:cubicBezTo>
                  <a:cubicBezTo>
                    <a:pt x="86" y="5"/>
                    <a:pt x="92" y="6"/>
                    <a:pt x="95" y="10"/>
                  </a:cubicBezTo>
                  <a:cubicBezTo>
                    <a:pt x="99" y="14"/>
                    <a:pt x="99" y="20"/>
                    <a:pt x="95" y="23"/>
                  </a:cubicBezTo>
                  <a:close/>
                  <a:moveTo>
                    <a:pt x="101" y="44"/>
                  </a:moveTo>
                  <a:cubicBezTo>
                    <a:pt x="103" y="42"/>
                    <a:pt x="103" y="42"/>
                    <a:pt x="103" y="42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39"/>
                    <a:pt x="97" y="38"/>
                    <a:pt x="96" y="38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91" y="35"/>
                    <a:pt x="90" y="35"/>
                    <a:pt x="89" y="35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3" y="35"/>
                    <a:pt x="82" y="35"/>
                    <a:pt x="81" y="36"/>
                  </a:cubicBezTo>
                  <a:cubicBezTo>
                    <a:pt x="79" y="33"/>
                    <a:pt x="79" y="33"/>
                    <a:pt x="79" y="33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9"/>
                    <a:pt x="76" y="40"/>
                    <a:pt x="75" y="41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5"/>
                    <a:pt x="72" y="47"/>
                    <a:pt x="72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3"/>
                    <a:pt x="73" y="54"/>
                    <a:pt x="73" y="55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6" y="60"/>
                    <a:pt x="77" y="61"/>
                    <a:pt x="78" y="61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79" y="66"/>
                    <a:pt x="79" y="66"/>
                    <a:pt x="79" y="66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3" y="64"/>
                    <a:pt x="84" y="64"/>
                    <a:pt x="85" y="64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90" y="64"/>
                    <a:pt x="91" y="64"/>
                    <a:pt x="93" y="63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7" y="64"/>
                    <a:pt x="97" y="64"/>
                    <a:pt x="97" y="64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97" y="60"/>
                    <a:pt x="98" y="60"/>
                    <a:pt x="99" y="59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1" y="54"/>
                    <a:pt x="102" y="53"/>
                    <a:pt x="102" y="52"/>
                  </a:cubicBezTo>
                  <a:cubicBezTo>
                    <a:pt x="105" y="51"/>
                    <a:pt x="105" y="51"/>
                    <a:pt x="105" y="51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1" y="46"/>
                    <a:pt x="101" y="45"/>
                    <a:pt x="101" y="44"/>
                  </a:cubicBezTo>
                  <a:close/>
                  <a:moveTo>
                    <a:pt x="97" y="44"/>
                  </a:moveTo>
                  <a:cubicBezTo>
                    <a:pt x="100" y="49"/>
                    <a:pt x="99" y="56"/>
                    <a:pt x="93" y="60"/>
                  </a:cubicBezTo>
                  <a:cubicBezTo>
                    <a:pt x="87" y="63"/>
                    <a:pt x="80" y="61"/>
                    <a:pt x="77" y="56"/>
                  </a:cubicBezTo>
                  <a:cubicBezTo>
                    <a:pt x="73" y="50"/>
                    <a:pt x="75" y="43"/>
                    <a:pt x="81" y="39"/>
                  </a:cubicBezTo>
                  <a:cubicBezTo>
                    <a:pt x="86" y="36"/>
                    <a:pt x="94" y="38"/>
                    <a:pt x="97" y="44"/>
                  </a:cubicBezTo>
                  <a:close/>
                  <a:moveTo>
                    <a:pt x="81" y="40"/>
                  </a:moveTo>
                  <a:cubicBezTo>
                    <a:pt x="76" y="43"/>
                    <a:pt x="74" y="50"/>
                    <a:pt x="77" y="55"/>
                  </a:cubicBezTo>
                  <a:cubicBezTo>
                    <a:pt x="80" y="61"/>
                    <a:pt x="87" y="62"/>
                    <a:pt x="93" y="59"/>
                  </a:cubicBezTo>
                  <a:cubicBezTo>
                    <a:pt x="98" y="56"/>
                    <a:pt x="100" y="49"/>
                    <a:pt x="96" y="44"/>
                  </a:cubicBezTo>
                  <a:cubicBezTo>
                    <a:pt x="93" y="39"/>
                    <a:pt x="86" y="37"/>
                    <a:pt x="81" y="40"/>
                  </a:cubicBezTo>
                  <a:close/>
                  <a:moveTo>
                    <a:pt x="92" y="59"/>
                  </a:moveTo>
                  <a:cubicBezTo>
                    <a:pt x="87" y="62"/>
                    <a:pt x="81" y="60"/>
                    <a:pt x="78" y="55"/>
                  </a:cubicBezTo>
                  <a:cubicBezTo>
                    <a:pt x="75" y="50"/>
                    <a:pt x="76" y="43"/>
                    <a:pt x="81" y="40"/>
                  </a:cubicBezTo>
                  <a:cubicBezTo>
                    <a:pt x="86" y="37"/>
                    <a:pt x="93" y="39"/>
                    <a:pt x="96" y="44"/>
                  </a:cubicBezTo>
                  <a:cubicBezTo>
                    <a:pt x="99" y="49"/>
                    <a:pt x="97" y="56"/>
                    <a:pt x="92" y="59"/>
                  </a:cubicBezTo>
                  <a:close/>
                  <a:moveTo>
                    <a:pt x="36" y="79"/>
                  </a:moveTo>
                  <a:cubicBezTo>
                    <a:pt x="46" y="105"/>
                    <a:pt x="46" y="105"/>
                    <a:pt x="46" y="105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82"/>
                    <a:pt x="30" y="82"/>
                    <a:pt x="30" y="82"/>
                  </a:cubicBezTo>
                  <a:lnTo>
                    <a:pt x="36" y="79"/>
                  </a:lnTo>
                  <a:close/>
                  <a:moveTo>
                    <a:pt x="130" y="80"/>
                  </a:moveTo>
                  <a:cubicBezTo>
                    <a:pt x="129" y="81"/>
                    <a:pt x="101" y="103"/>
                    <a:pt x="98" y="103"/>
                  </a:cubicBezTo>
                  <a:cubicBezTo>
                    <a:pt x="94" y="104"/>
                    <a:pt x="68" y="103"/>
                    <a:pt x="63" y="102"/>
                  </a:cubicBezTo>
                  <a:cubicBezTo>
                    <a:pt x="60" y="101"/>
                    <a:pt x="56" y="101"/>
                    <a:pt x="52" y="98"/>
                  </a:cubicBezTo>
                  <a:cubicBezTo>
                    <a:pt x="52" y="99"/>
                    <a:pt x="52" y="99"/>
                    <a:pt x="52" y="99"/>
                  </a:cubicBezTo>
                  <a:cubicBezTo>
                    <a:pt x="48" y="100"/>
                    <a:pt x="48" y="100"/>
                    <a:pt x="48" y="10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9" y="78"/>
                    <a:pt x="66" y="72"/>
                    <a:pt x="72" y="73"/>
                  </a:cubicBezTo>
                  <a:cubicBezTo>
                    <a:pt x="81" y="75"/>
                    <a:pt x="89" y="75"/>
                    <a:pt x="89" y="75"/>
                  </a:cubicBezTo>
                  <a:cubicBezTo>
                    <a:pt x="100" y="75"/>
                    <a:pt x="104" y="75"/>
                    <a:pt x="101" y="82"/>
                  </a:cubicBezTo>
                  <a:cubicBezTo>
                    <a:pt x="98" y="87"/>
                    <a:pt x="77" y="82"/>
                    <a:pt x="78" y="84"/>
                  </a:cubicBezTo>
                  <a:cubicBezTo>
                    <a:pt x="78" y="87"/>
                    <a:pt x="93" y="89"/>
                    <a:pt x="95" y="89"/>
                  </a:cubicBezTo>
                  <a:cubicBezTo>
                    <a:pt x="97" y="88"/>
                    <a:pt x="105" y="84"/>
                    <a:pt x="105" y="84"/>
                  </a:cubicBezTo>
                  <a:cubicBezTo>
                    <a:pt x="105" y="84"/>
                    <a:pt x="120" y="73"/>
                    <a:pt x="126" y="75"/>
                  </a:cubicBezTo>
                  <a:cubicBezTo>
                    <a:pt x="132" y="77"/>
                    <a:pt x="131" y="80"/>
                    <a:pt x="130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202" tIns="45601" rIns="91202" bIns="45601" numCol="1" anchor="t" anchorCtr="0" compatLnSpc="1">
              <a:prstTxWarp prst="textNoShape">
                <a:avLst/>
              </a:prstTxWarp>
            </a:bodyPr>
            <a:lstStyle/>
            <a:p>
              <a:pPr defTabSz="448095">
                <a:buClr>
                  <a:srgbClr val="000000"/>
                </a:buClr>
                <a:buSzPct val="100000"/>
                <a:defRPr/>
              </a:pPr>
              <a:endParaRPr lang="en-GB" kern="0">
                <a:solidFill>
                  <a:schemeClr val="bg1"/>
                </a:solidFill>
                <a:latin typeface="Arial" panose="020B0604020202020204" pitchFamily="34" charset="0"/>
                <a:ea typeface="Microsoft YaHei" panose="020B0503020204020204" pitchFamily="34" charset="-122"/>
              </a:endParaRPr>
            </a:p>
          </p:txBody>
        </p:sp>
      </p:grpSp>
      <p:sp>
        <p:nvSpPr>
          <p:cNvPr id="44" name="Rectangle 484">
            <a:extLst>
              <a:ext uri="{FF2B5EF4-FFF2-40B4-BE49-F238E27FC236}">
                <a16:creationId xmlns:a16="http://schemas.microsoft.com/office/drawing/2014/main" id="{BB8CF9B7-4401-4659-AB9D-FBE5DCC709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3579" y="4597763"/>
            <a:ext cx="2862963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 alt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evistas con </a:t>
            </a:r>
            <a:r>
              <a:rPr lang="en-GB" alt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ntes</a:t>
            </a:r>
            <a:endParaRPr lang="en-GB" alt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/>
            <a:endParaRPr lang="en-GB" alt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/>
            <a:endParaRPr lang="en-GB" alt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/>
            <a:r>
              <a:rPr lang="en-GB" altLang="ru-R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brero-marzo</a:t>
            </a:r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4</a:t>
            </a:r>
          </a:p>
        </p:txBody>
      </p:sp>
      <p:grpSp>
        <p:nvGrpSpPr>
          <p:cNvPr id="45" name="Group 8">
            <a:extLst>
              <a:ext uri="{FF2B5EF4-FFF2-40B4-BE49-F238E27FC236}">
                <a16:creationId xmlns:a16="http://schemas.microsoft.com/office/drawing/2014/main" id="{63A589CA-E511-4513-90DD-839CB20B696A}"/>
              </a:ext>
            </a:extLst>
          </p:cNvPr>
          <p:cNvGrpSpPr/>
          <p:nvPr/>
        </p:nvGrpSpPr>
        <p:grpSpPr>
          <a:xfrm>
            <a:off x="877094" y="4477815"/>
            <a:ext cx="705278" cy="705288"/>
            <a:chOff x="3657463" y="3928550"/>
            <a:chExt cx="707119" cy="707129"/>
          </a:xfrm>
        </p:grpSpPr>
        <p:sp>
          <p:nvSpPr>
            <p:cNvPr id="46" name="Oval 508">
              <a:extLst>
                <a:ext uri="{FF2B5EF4-FFF2-40B4-BE49-F238E27FC236}">
                  <a16:creationId xmlns:a16="http://schemas.microsoft.com/office/drawing/2014/main" id="{BCD7813F-ED6A-4F9F-B650-8E8C2E65E3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7463" y="3928550"/>
              <a:ext cx="707119" cy="707129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202" tIns="45601" rIns="91202" bIns="45601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515">
              <a:extLst>
                <a:ext uri="{FF2B5EF4-FFF2-40B4-BE49-F238E27FC236}">
                  <a16:creationId xmlns:a16="http://schemas.microsoft.com/office/drawing/2014/main" id="{EB0BB5BC-631E-4299-A7FC-69026CB44F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48116" y="4113251"/>
              <a:ext cx="491055" cy="293234"/>
            </a:xfrm>
            <a:custGeom>
              <a:avLst/>
              <a:gdLst>
                <a:gd name="T0" fmla="*/ 32 w 148"/>
                <a:gd name="T1" fmla="*/ 57 h 88"/>
                <a:gd name="T2" fmla="*/ 32 w 148"/>
                <a:gd name="T3" fmla="*/ 50 h 88"/>
                <a:gd name="T4" fmla="*/ 48 w 148"/>
                <a:gd name="T5" fmla="*/ 38 h 88"/>
                <a:gd name="T6" fmla="*/ 53 w 148"/>
                <a:gd name="T7" fmla="*/ 43 h 88"/>
                <a:gd name="T8" fmla="*/ 39 w 148"/>
                <a:gd name="T9" fmla="*/ 57 h 88"/>
                <a:gd name="T10" fmla="*/ 46 w 148"/>
                <a:gd name="T11" fmla="*/ 68 h 88"/>
                <a:gd name="T12" fmla="*/ 63 w 148"/>
                <a:gd name="T13" fmla="*/ 47 h 88"/>
                <a:gd name="T14" fmla="*/ 56 w 148"/>
                <a:gd name="T15" fmla="*/ 46 h 88"/>
                <a:gd name="T16" fmla="*/ 39 w 148"/>
                <a:gd name="T17" fmla="*/ 67 h 88"/>
                <a:gd name="T18" fmla="*/ 46 w 148"/>
                <a:gd name="T19" fmla="*/ 68 h 88"/>
                <a:gd name="T20" fmla="*/ 67 w 148"/>
                <a:gd name="T21" fmla="*/ 67 h 88"/>
                <a:gd name="T22" fmla="*/ 64 w 148"/>
                <a:gd name="T23" fmla="*/ 58 h 88"/>
                <a:gd name="T24" fmla="*/ 49 w 148"/>
                <a:gd name="T25" fmla="*/ 69 h 88"/>
                <a:gd name="T26" fmla="*/ 52 w 148"/>
                <a:gd name="T27" fmla="*/ 78 h 88"/>
                <a:gd name="T28" fmla="*/ 64 w 148"/>
                <a:gd name="T29" fmla="*/ 87 h 88"/>
                <a:gd name="T30" fmla="*/ 72 w 148"/>
                <a:gd name="T31" fmla="*/ 74 h 88"/>
                <a:gd name="T32" fmla="*/ 65 w 148"/>
                <a:gd name="T33" fmla="*/ 73 h 88"/>
                <a:gd name="T34" fmla="*/ 57 w 148"/>
                <a:gd name="T35" fmla="*/ 86 h 88"/>
                <a:gd name="T36" fmla="*/ 64 w 148"/>
                <a:gd name="T37" fmla="*/ 87 h 88"/>
                <a:gd name="T38" fmla="*/ 148 w 148"/>
                <a:gd name="T39" fmla="*/ 28 h 88"/>
                <a:gd name="T40" fmla="*/ 116 w 148"/>
                <a:gd name="T41" fmla="*/ 13 h 88"/>
                <a:gd name="T42" fmla="*/ 130 w 148"/>
                <a:gd name="T43" fmla="*/ 37 h 88"/>
                <a:gd name="T44" fmla="*/ 119 w 148"/>
                <a:gd name="T45" fmla="*/ 42 h 88"/>
                <a:gd name="T46" fmla="*/ 113 w 148"/>
                <a:gd name="T47" fmla="*/ 14 h 88"/>
                <a:gd name="T48" fmla="*/ 72 w 148"/>
                <a:gd name="T49" fmla="*/ 8 h 88"/>
                <a:gd name="T50" fmla="*/ 69 w 148"/>
                <a:gd name="T51" fmla="*/ 9 h 88"/>
                <a:gd name="T52" fmla="*/ 45 w 148"/>
                <a:gd name="T53" fmla="*/ 27 h 88"/>
                <a:gd name="T54" fmla="*/ 51 w 148"/>
                <a:gd name="T55" fmla="*/ 29 h 88"/>
                <a:gd name="T56" fmla="*/ 74 w 148"/>
                <a:gd name="T57" fmla="*/ 18 h 88"/>
                <a:gd name="T58" fmla="*/ 117 w 148"/>
                <a:gd name="T59" fmla="*/ 45 h 88"/>
                <a:gd name="T60" fmla="*/ 81 w 148"/>
                <a:gd name="T61" fmla="*/ 80 h 88"/>
                <a:gd name="T62" fmla="*/ 76 w 148"/>
                <a:gd name="T63" fmla="*/ 75 h 88"/>
                <a:gd name="T64" fmla="*/ 73 w 148"/>
                <a:gd name="T65" fmla="*/ 83 h 88"/>
                <a:gd name="T66" fmla="*/ 76 w 148"/>
                <a:gd name="T67" fmla="*/ 87 h 88"/>
                <a:gd name="T68" fmla="*/ 91 w 148"/>
                <a:gd name="T69" fmla="*/ 80 h 88"/>
                <a:gd name="T70" fmla="*/ 92 w 148"/>
                <a:gd name="T71" fmla="*/ 73 h 88"/>
                <a:gd name="T72" fmla="*/ 87 w 148"/>
                <a:gd name="T73" fmla="*/ 63 h 88"/>
                <a:gd name="T74" fmla="*/ 97 w 148"/>
                <a:gd name="T75" fmla="*/ 73 h 88"/>
                <a:gd name="T76" fmla="*/ 103 w 148"/>
                <a:gd name="T77" fmla="*/ 75 h 88"/>
                <a:gd name="T78" fmla="*/ 105 w 148"/>
                <a:gd name="T79" fmla="*/ 67 h 88"/>
                <a:gd name="T80" fmla="*/ 98 w 148"/>
                <a:gd name="T81" fmla="*/ 55 h 88"/>
                <a:gd name="T82" fmla="*/ 108 w 148"/>
                <a:gd name="T83" fmla="*/ 66 h 88"/>
                <a:gd name="T84" fmla="*/ 114 w 148"/>
                <a:gd name="T85" fmla="*/ 68 h 88"/>
                <a:gd name="T86" fmla="*/ 116 w 148"/>
                <a:gd name="T87" fmla="*/ 61 h 88"/>
                <a:gd name="T88" fmla="*/ 74 w 148"/>
                <a:gd name="T89" fmla="*/ 21 h 88"/>
                <a:gd name="T90" fmla="*/ 49 w 148"/>
                <a:gd name="T91" fmla="*/ 32 h 88"/>
                <a:gd name="T92" fmla="*/ 43 w 148"/>
                <a:gd name="T93" fmla="*/ 29 h 88"/>
                <a:gd name="T94" fmla="*/ 46 w 148"/>
                <a:gd name="T95" fmla="*/ 18 h 88"/>
                <a:gd name="T96" fmla="*/ 36 w 148"/>
                <a:gd name="T97" fmla="*/ 15 h 88"/>
                <a:gd name="T98" fmla="*/ 30 w 148"/>
                <a:gd name="T99" fmla="*/ 48 h 88"/>
                <a:gd name="T100" fmla="*/ 44 w 148"/>
                <a:gd name="T101" fmla="*/ 37 h 88"/>
                <a:gd name="T102" fmla="*/ 55 w 148"/>
                <a:gd name="T103" fmla="*/ 38 h 88"/>
                <a:gd name="T104" fmla="*/ 60 w 148"/>
                <a:gd name="T105" fmla="*/ 42 h 88"/>
                <a:gd name="T106" fmla="*/ 65 w 148"/>
                <a:gd name="T107" fmla="*/ 55 h 88"/>
                <a:gd name="T108" fmla="*/ 69 w 148"/>
                <a:gd name="T109" fmla="*/ 69 h 88"/>
                <a:gd name="T110" fmla="*/ 74 w 148"/>
                <a:gd name="T111" fmla="*/ 72 h 88"/>
                <a:gd name="T112" fmla="*/ 76 w 148"/>
                <a:gd name="T113" fmla="*/ 71 h 88"/>
                <a:gd name="T114" fmla="*/ 85 w 148"/>
                <a:gd name="T115" fmla="*/ 79 h 88"/>
                <a:gd name="T116" fmla="*/ 91 w 148"/>
                <a:gd name="T117" fmla="*/ 80 h 88"/>
                <a:gd name="T118" fmla="*/ 34 w 148"/>
                <a:gd name="T119" fmla="*/ 13 h 88"/>
                <a:gd name="T120" fmla="*/ 0 w 148"/>
                <a:gd name="T121" fmla="*/ 2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88">
                  <a:moveTo>
                    <a:pt x="35" y="58"/>
                  </a:moveTo>
                  <a:cubicBezTo>
                    <a:pt x="34" y="58"/>
                    <a:pt x="33" y="58"/>
                    <a:pt x="32" y="57"/>
                  </a:cubicBezTo>
                  <a:cubicBezTo>
                    <a:pt x="31" y="56"/>
                    <a:pt x="30" y="54"/>
                    <a:pt x="30" y="53"/>
                  </a:cubicBezTo>
                  <a:cubicBezTo>
                    <a:pt x="31" y="52"/>
                    <a:pt x="31" y="50"/>
                    <a:pt x="32" y="50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38"/>
                    <a:pt x="47" y="38"/>
                    <a:pt x="48" y="38"/>
                  </a:cubicBezTo>
                  <a:cubicBezTo>
                    <a:pt x="50" y="38"/>
                    <a:pt x="51" y="38"/>
                    <a:pt x="52" y="39"/>
                  </a:cubicBezTo>
                  <a:cubicBezTo>
                    <a:pt x="53" y="40"/>
                    <a:pt x="54" y="42"/>
                    <a:pt x="53" y="43"/>
                  </a:cubicBezTo>
                  <a:cubicBezTo>
                    <a:pt x="53" y="44"/>
                    <a:pt x="53" y="46"/>
                    <a:pt x="52" y="46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8"/>
                    <a:pt x="37" y="58"/>
                    <a:pt x="35" y="58"/>
                  </a:cubicBezTo>
                  <a:close/>
                  <a:moveTo>
                    <a:pt x="46" y="68"/>
                  </a:moveTo>
                  <a:cubicBezTo>
                    <a:pt x="63" y="54"/>
                    <a:pt x="63" y="54"/>
                    <a:pt x="63" y="54"/>
                  </a:cubicBezTo>
                  <a:cubicBezTo>
                    <a:pt x="65" y="52"/>
                    <a:pt x="65" y="49"/>
                    <a:pt x="63" y="47"/>
                  </a:cubicBezTo>
                  <a:cubicBezTo>
                    <a:pt x="62" y="46"/>
                    <a:pt x="61" y="45"/>
                    <a:pt x="60" y="45"/>
                  </a:cubicBezTo>
                  <a:cubicBezTo>
                    <a:pt x="58" y="45"/>
                    <a:pt x="57" y="46"/>
                    <a:pt x="56" y="46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38" y="62"/>
                    <a:pt x="37" y="65"/>
                    <a:pt x="39" y="67"/>
                  </a:cubicBezTo>
                  <a:cubicBezTo>
                    <a:pt x="40" y="68"/>
                    <a:pt x="41" y="69"/>
                    <a:pt x="43" y="69"/>
                  </a:cubicBezTo>
                  <a:cubicBezTo>
                    <a:pt x="44" y="69"/>
                    <a:pt x="45" y="69"/>
                    <a:pt x="46" y="68"/>
                  </a:cubicBezTo>
                  <a:close/>
                  <a:moveTo>
                    <a:pt x="55" y="77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70" y="65"/>
                    <a:pt x="70" y="62"/>
                    <a:pt x="68" y="60"/>
                  </a:cubicBezTo>
                  <a:cubicBezTo>
                    <a:pt x="67" y="59"/>
                    <a:pt x="66" y="58"/>
                    <a:pt x="64" y="58"/>
                  </a:cubicBezTo>
                  <a:cubicBezTo>
                    <a:pt x="63" y="58"/>
                    <a:pt x="62" y="59"/>
                    <a:pt x="61" y="5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7" y="71"/>
                    <a:pt x="47" y="74"/>
                    <a:pt x="48" y="76"/>
                  </a:cubicBezTo>
                  <a:cubicBezTo>
                    <a:pt x="49" y="77"/>
                    <a:pt x="51" y="78"/>
                    <a:pt x="52" y="78"/>
                  </a:cubicBezTo>
                  <a:cubicBezTo>
                    <a:pt x="53" y="78"/>
                    <a:pt x="54" y="78"/>
                    <a:pt x="55" y="77"/>
                  </a:cubicBezTo>
                  <a:close/>
                  <a:moveTo>
                    <a:pt x="64" y="87"/>
                  </a:moveTo>
                  <a:cubicBezTo>
                    <a:pt x="71" y="81"/>
                    <a:pt x="71" y="81"/>
                    <a:pt x="71" y="81"/>
                  </a:cubicBezTo>
                  <a:cubicBezTo>
                    <a:pt x="73" y="79"/>
                    <a:pt x="74" y="76"/>
                    <a:pt x="72" y="74"/>
                  </a:cubicBezTo>
                  <a:cubicBezTo>
                    <a:pt x="71" y="73"/>
                    <a:pt x="69" y="72"/>
                    <a:pt x="68" y="72"/>
                  </a:cubicBezTo>
                  <a:cubicBezTo>
                    <a:pt x="67" y="72"/>
                    <a:pt x="66" y="72"/>
                    <a:pt x="65" y="73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1"/>
                    <a:pt x="55" y="84"/>
                    <a:pt x="57" y="86"/>
                  </a:cubicBezTo>
                  <a:cubicBezTo>
                    <a:pt x="58" y="87"/>
                    <a:pt x="60" y="88"/>
                    <a:pt x="61" y="88"/>
                  </a:cubicBezTo>
                  <a:cubicBezTo>
                    <a:pt x="62" y="88"/>
                    <a:pt x="63" y="87"/>
                    <a:pt x="64" y="87"/>
                  </a:cubicBezTo>
                  <a:close/>
                  <a:moveTo>
                    <a:pt x="130" y="37"/>
                  </a:moveTo>
                  <a:cubicBezTo>
                    <a:pt x="148" y="28"/>
                    <a:pt x="148" y="28"/>
                    <a:pt x="148" y="28"/>
                  </a:cubicBezTo>
                  <a:cubicBezTo>
                    <a:pt x="135" y="3"/>
                    <a:pt x="135" y="3"/>
                    <a:pt x="135" y="3"/>
                  </a:cubicBezTo>
                  <a:cubicBezTo>
                    <a:pt x="128" y="7"/>
                    <a:pt x="118" y="12"/>
                    <a:pt x="116" y="13"/>
                  </a:cubicBezTo>
                  <a:cubicBezTo>
                    <a:pt x="119" y="18"/>
                    <a:pt x="125" y="29"/>
                    <a:pt x="129" y="36"/>
                  </a:cubicBezTo>
                  <a:lnTo>
                    <a:pt x="130" y="37"/>
                  </a:lnTo>
                  <a:close/>
                  <a:moveTo>
                    <a:pt x="117" y="45"/>
                  </a:moveTo>
                  <a:cubicBezTo>
                    <a:pt x="118" y="44"/>
                    <a:pt x="118" y="43"/>
                    <a:pt x="119" y="42"/>
                  </a:cubicBezTo>
                  <a:cubicBezTo>
                    <a:pt x="120" y="41"/>
                    <a:pt x="125" y="38"/>
                    <a:pt x="127" y="37"/>
                  </a:cubicBezTo>
                  <a:cubicBezTo>
                    <a:pt x="125" y="35"/>
                    <a:pt x="116" y="19"/>
                    <a:pt x="113" y="14"/>
                  </a:cubicBezTo>
                  <a:cubicBezTo>
                    <a:pt x="100" y="9"/>
                    <a:pt x="87" y="8"/>
                    <a:pt x="79" y="8"/>
                  </a:cubicBezTo>
                  <a:cubicBezTo>
                    <a:pt x="76" y="8"/>
                    <a:pt x="74" y="8"/>
                    <a:pt x="72" y="8"/>
                  </a:cubicBezTo>
                  <a:cubicBezTo>
                    <a:pt x="72" y="8"/>
                    <a:pt x="72" y="8"/>
                    <a:pt x="71" y="8"/>
                  </a:cubicBezTo>
                  <a:cubicBezTo>
                    <a:pt x="71" y="8"/>
                    <a:pt x="70" y="9"/>
                    <a:pt x="69" y="9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4" y="21"/>
                    <a:pt x="43" y="24"/>
                    <a:pt x="45" y="27"/>
                  </a:cubicBezTo>
                  <a:cubicBezTo>
                    <a:pt x="45" y="28"/>
                    <a:pt x="47" y="30"/>
                    <a:pt x="49" y="30"/>
                  </a:cubicBezTo>
                  <a:cubicBezTo>
                    <a:pt x="50" y="30"/>
                    <a:pt x="51" y="29"/>
                    <a:pt x="51" y="29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90" y="28"/>
                    <a:pt x="110" y="49"/>
                    <a:pt x="112" y="52"/>
                  </a:cubicBezTo>
                  <a:cubicBezTo>
                    <a:pt x="113" y="51"/>
                    <a:pt x="115" y="48"/>
                    <a:pt x="117" y="45"/>
                  </a:cubicBezTo>
                  <a:close/>
                  <a:moveTo>
                    <a:pt x="78" y="86"/>
                  </a:moveTo>
                  <a:cubicBezTo>
                    <a:pt x="81" y="85"/>
                    <a:pt x="82" y="82"/>
                    <a:pt x="81" y="80"/>
                  </a:cubicBezTo>
                  <a:cubicBezTo>
                    <a:pt x="81" y="80"/>
                    <a:pt x="81" y="80"/>
                    <a:pt x="80" y="79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6" y="76"/>
                    <a:pt x="76" y="76"/>
                    <a:pt x="76" y="77"/>
                  </a:cubicBezTo>
                  <a:cubicBezTo>
                    <a:pt x="76" y="79"/>
                    <a:pt x="75" y="81"/>
                    <a:pt x="73" y="83"/>
                  </a:cubicBezTo>
                  <a:cubicBezTo>
                    <a:pt x="72" y="83"/>
                    <a:pt x="72" y="83"/>
                    <a:pt x="72" y="83"/>
                  </a:cubicBezTo>
                  <a:cubicBezTo>
                    <a:pt x="73" y="85"/>
                    <a:pt x="75" y="87"/>
                    <a:pt x="76" y="87"/>
                  </a:cubicBezTo>
                  <a:cubicBezTo>
                    <a:pt x="77" y="87"/>
                    <a:pt x="78" y="87"/>
                    <a:pt x="78" y="86"/>
                  </a:cubicBezTo>
                  <a:close/>
                  <a:moveTo>
                    <a:pt x="91" y="80"/>
                  </a:moveTo>
                  <a:cubicBezTo>
                    <a:pt x="93" y="79"/>
                    <a:pt x="94" y="76"/>
                    <a:pt x="93" y="74"/>
                  </a:cubicBezTo>
                  <a:cubicBezTo>
                    <a:pt x="93" y="74"/>
                    <a:pt x="93" y="73"/>
                    <a:pt x="92" y="73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96" y="72"/>
                    <a:pt x="96" y="72"/>
                    <a:pt x="96" y="72"/>
                  </a:cubicBezTo>
                  <a:cubicBezTo>
                    <a:pt x="97" y="73"/>
                    <a:pt x="97" y="73"/>
                    <a:pt x="97" y="73"/>
                  </a:cubicBezTo>
                  <a:cubicBezTo>
                    <a:pt x="99" y="74"/>
                    <a:pt x="99" y="75"/>
                    <a:pt x="101" y="75"/>
                  </a:cubicBezTo>
                  <a:cubicBezTo>
                    <a:pt x="102" y="75"/>
                    <a:pt x="102" y="75"/>
                    <a:pt x="103" y="75"/>
                  </a:cubicBezTo>
                  <a:cubicBezTo>
                    <a:pt x="105" y="74"/>
                    <a:pt x="106" y="72"/>
                    <a:pt x="106" y="70"/>
                  </a:cubicBezTo>
                  <a:cubicBezTo>
                    <a:pt x="106" y="69"/>
                    <a:pt x="105" y="68"/>
                    <a:pt x="105" y="67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9" y="67"/>
                    <a:pt x="110" y="68"/>
                    <a:pt x="112" y="68"/>
                  </a:cubicBezTo>
                  <a:cubicBezTo>
                    <a:pt x="113" y="68"/>
                    <a:pt x="114" y="68"/>
                    <a:pt x="114" y="68"/>
                  </a:cubicBezTo>
                  <a:cubicBezTo>
                    <a:pt x="117" y="66"/>
                    <a:pt x="118" y="64"/>
                    <a:pt x="117" y="61"/>
                  </a:cubicBezTo>
                  <a:cubicBezTo>
                    <a:pt x="117" y="61"/>
                    <a:pt x="116" y="61"/>
                    <a:pt x="116" y="61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101" y="45"/>
                    <a:pt x="86" y="30"/>
                    <a:pt x="74" y="21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1" y="32"/>
                    <a:pt x="50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6" y="32"/>
                    <a:pt x="44" y="31"/>
                    <a:pt x="43" y="29"/>
                  </a:cubicBezTo>
                  <a:cubicBezTo>
                    <a:pt x="41" y="27"/>
                    <a:pt x="41" y="25"/>
                    <a:pt x="41" y="23"/>
                  </a:cubicBezTo>
                  <a:cubicBezTo>
                    <a:pt x="42" y="20"/>
                    <a:pt x="43" y="19"/>
                    <a:pt x="46" y="18"/>
                  </a:cubicBezTo>
                  <a:cubicBezTo>
                    <a:pt x="52" y="14"/>
                    <a:pt x="52" y="14"/>
                    <a:pt x="52" y="14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5" y="35"/>
                    <a:pt x="47" y="35"/>
                    <a:pt x="48" y="35"/>
                  </a:cubicBezTo>
                  <a:cubicBezTo>
                    <a:pt x="51" y="35"/>
                    <a:pt x="53" y="36"/>
                    <a:pt x="55" y="38"/>
                  </a:cubicBezTo>
                  <a:cubicBezTo>
                    <a:pt x="56" y="39"/>
                    <a:pt x="56" y="41"/>
                    <a:pt x="56" y="43"/>
                  </a:cubicBezTo>
                  <a:cubicBezTo>
                    <a:pt x="57" y="43"/>
                    <a:pt x="58" y="42"/>
                    <a:pt x="60" y="42"/>
                  </a:cubicBezTo>
                  <a:cubicBezTo>
                    <a:pt x="62" y="42"/>
                    <a:pt x="64" y="44"/>
                    <a:pt x="66" y="45"/>
                  </a:cubicBezTo>
                  <a:cubicBezTo>
                    <a:pt x="68" y="48"/>
                    <a:pt x="68" y="53"/>
                    <a:pt x="65" y="55"/>
                  </a:cubicBezTo>
                  <a:cubicBezTo>
                    <a:pt x="67" y="56"/>
                    <a:pt x="69" y="57"/>
                    <a:pt x="70" y="58"/>
                  </a:cubicBezTo>
                  <a:cubicBezTo>
                    <a:pt x="73" y="62"/>
                    <a:pt x="73" y="66"/>
                    <a:pt x="69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1" y="70"/>
                    <a:pt x="73" y="71"/>
                    <a:pt x="74" y="72"/>
                  </a:cubicBezTo>
                  <a:cubicBezTo>
                    <a:pt x="74" y="72"/>
                    <a:pt x="74" y="72"/>
                    <a:pt x="74" y="73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4" y="78"/>
                    <a:pt x="85" y="79"/>
                    <a:pt x="85" y="79"/>
                  </a:cubicBezTo>
                  <a:cubicBezTo>
                    <a:pt x="86" y="80"/>
                    <a:pt x="87" y="81"/>
                    <a:pt x="88" y="81"/>
                  </a:cubicBezTo>
                  <a:cubicBezTo>
                    <a:pt x="89" y="81"/>
                    <a:pt x="90" y="81"/>
                    <a:pt x="91" y="80"/>
                  </a:cubicBezTo>
                  <a:close/>
                  <a:moveTo>
                    <a:pt x="15" y="34"/>
                  </a:moveTo>
                  <a:cubicBezTo>
                    <a:pt x="34" y="13"/>
                    <a:pt x="34" y="13"/>
                    <a:pt x="34" y="1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20"/>
                    <a:pt x="0" y="20"/>
                    <a:pt x="0" y="20"/>
                  </a:cubicBezTo>
                  <a:lnTo>
                    <a:pt x="15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202" tIns="45601" rIns="91202" bIns="45601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sp>
        <p:nvSpPr>
          <p:cNvPr id="48" name="Rectangle 479">
            <a:extLst>
              <a:ext uri="{FF2B5EF4-FFF2-40B4-BE49-F238E27FC236}">
                <a16:creationId xmlns:a16="http://schemas.microsoft.com/office/drawing/2014/main" id="{AAD28B05-A37A-42BF-85C4-AC3F95470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24218" y="4509849"/>
            <a:ext cx="2440247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 alt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ción de informe final de </a:t>
            </a:r>
            <a:r>
              <a:rPr lang="en-GB" alt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es</a:t>
            </a:r>
            <a:endParaRPr lang="en-GB" alt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/>
            <a:endParaRPr lang="en-GB" altLang="ru-RU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/>
            <a:endParaRPr lang="en-GB" alt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/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zo-</a:t>
            </a:r>
            <a:r>
              <a:rPr lang="en-GB" altLang="ru-R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ril</a:t>
            </a:r>
            <a:r>
              <a:rPr lang="en-GB" alt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4</a:t>
            </a:r>
          </a:p>
        </p:txBody>
      </p:sp>
      <p:grpSp>
        <p:nvGrpSpPr>
          <p:cNvPr id="49" name="Group 9">
            <a:extLst>
              <a:ext uri="{FF2B5EF4-FFF2-40B4-BE49-F238E27FC236}">
                <a16:creationId xmlns:a16="http://schemas.microsoft.com/office/drawing/2014/main" id="{EC8EE966-DD61-471C-B05F-F6DA33EF8920}"/>
              </a:ext>
            </a:extLst>
          </p:cNvPr>
          <p:cNvGrpSpPr/>
          <p:nvPr/>
        </p:nvGrpSpPr>
        <p:grpSpPr>
          <a:xfrm>
            <a:off x="4845960" y="4448445"/>
            <a:ext cx="705278" cy="705288"/>
            <a:chOff x="3657463" y="5323166"/>
            <a:chExt cx="707119" cy="707129"/>
          </a:xfrm>
        </p:grpSpPr>
        <p:sp>
          <p:nvSpPr>
            <p:cNvPr id="50" name="Oval 507">
              <a:extLst>
                <a:ext uri="{FF2B5EF4-FFF2-40B4-BE49-F238E27FC236}">
                  <a16:creationId xmlns:a16="http://schemas.microsoft.com/office/drawing/2014/main" id="{574B2090-58D1-4324-8904-3EB29420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7463" y="5323166"/>
              <a:ext cx="707119" cy="707129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202" tIns="45601" rIns="91202" bIns="45601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51" name="Freeform 514">
              <a:extLst>
                <a:ext uri="{FF2B5EF4-FFF2-40B4-BE49-F238E27FC236}">
                  <a16:creationId xmlns:a16="http://schemas.microsoft.com/office/drawing/2014/main" id="{102253FB-028F-4E52-B714-C177668B60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0894" y="5429298"/>
              <a:ext cx="361978" cy="391446"/>
            </a:xfrm>
            <a:custGeom>
              <a:avLst/>
              <a:gdLst>
                <a:gd name="T0" fmla="*/ 68 w 109"/>
                <a:gd name="T1" fmla="*/ 57 h 118"/>
                <a:gd name="T2" fmla="*/ 71 w 109"/>
                <a:gd name="T3" fmla="*/ 69 h 118"/>
                <a:gd name="T4" fmla="*/ 49 w 109"/>
                <a:gd name="T5" fmla="*/ 91 h 118"/>
                <a:gd name="T6" fmla="*/ 27 w 109"/>
                <a:gd name="T7" fmla="*/ 69 h 118"/>
                <a:gd name="T8" fmla="*/ 49 w 109"/>
                <a:gd name="T9" fmla="*/ 47 h 118"/>
                <a:gd name="T10" fmla="*/ 58 w 109"/>
                <a:gd name="T11" fmla="*/ 48 h 118"/>
                <a:gd name="T12" fmla="*/ 54 w 109"/>
                <a:gd name="T13" fmla="*/ 53 h 118"/>
                <a:gd name="T14" fmla="*/ 49 w 109"/>
                <a:gd name="T15" fmla="*/ 52 h 118"/>
                <a:gd name="T16" fmla="*/ 32 w 109"/>
                <a:gd name="T17" fmla="*/ 69 h 118"/>
                <a:gd name="T18" fmla="*/ 49 w 109"/>
                <a:gd name="T19" fmla="*/ 86 h 118"/>
                <a:gd name="T20" fmla="*/ 66 w 109"/>
                <a:gd name="T21" fmla="*/ 69 h 118"/>
                <a:gd name="T22" fmla="*/ 64 w 109"/>
                <a:gd name="T23" fmla="*/ 61 h 118"/>
                <a:gd name="T24" fmla="*/ 68 w 109"/>
                <a:gd name="T25" fmla="*/ 57 h 118"/>
                <a:gd name="T26" fmla="*/ 73 w 109"/>
                <a:gd name="T27" fmla="*/ 50 h 118"/>
                <a:gd name="T28" fmla="*/ 80 w 109"/>
                <a:gd name="T29" fmla="*/ 69 h 118"/>
                <a:gd name="T30" fmla="*/ 49 w 109"/>
                <a:gd name="T31" fmla="*/ 99 h 118"/>
                <a:gd name="T32" fmla="*/ 19 w 109"/>
                <a:gd name="T33" fmla="*/ 69 h 118"/>
                <a:gd name="T34" fmla="*/ 49 w 109"/>
                <a:gd name="T35" fmla="*/ 38 h 118"/>
                <a:gd name="T36" fmla="*/ 63 w 109"/>
                <a:gd name="T37" fmla="*/ 42 h 118"/>
                <a:gd name="T38" fmla="*/ 66 w 109"/>
                <a:gd name="T39" fmla="*/ 38 h 118"/>
                <a:gd name="T40" fmla="*/ 49 w 109"/>
                <a:gd name="T41" fmla="*/ 33 h 118"/>
                <a:gd name="T42" fmla="*/ 14 w 109"/>
                <a:gd name="T43" fmla="*/ 69 h 118"/>
                <a:gd name="T44" fmla="*/ 49 w 109"/>
                <a:gd name="T45" fmla="*/ 104 h 118"/>
                <a:gd name="T46" fmla="*/ 85 w 109"/>
                <a:gd name="T47" fmla="*/ 69 h 118"/>
                <a:gd name="T48" fmla="*/ 76 w 109"/>
                <a:gd name="T49" fmla="*/ 46 h 118"/>
                <a:gd name="T50" fmla="*/ 73 w 109"/>
                <a:gd name="T51" fmla="*/ 50 h 118"/>
                <a:gd name="T52" fmla="*/ 85 w 109"/>
                <a:gd name="T53" fmla="*/ 36 h 118"/>
                <a:gd name="T54" fmla="*/ 82 w 109"/>
                <a:gd name="T55" fmla="*/ 39 h 118"/>
                <a:gd name="T56" fmla="*/ 93 w 109"/>
                <a:gd name="T57" fmla="*/ 69 h 118"/>
                <a:gd name="T58" fmla="*/ 49 w 109"/>
                <a:gd name="T59" fmla="*/ 113 h 118"/>
                <a:gd name="T60" fmla="*/ 5 w 109"/>
                <a:gd name="T61" fmla="*/ 69 h 118"/>
                <a:gd name="T62" fmla="*/ 49 w 109"/>
                <a:gd name="T63" fmla="*/ 25 h 118"/>
                <a:gd name="T64" fmla="*/ 72 w 109"/>
                <a:gd name="T65" fmla="*/ 31 h 118"/>
                <a:gd name="T66" fmla="*/ 75 w 109"/>
                <a:gd name="T67" fmla="*/ 27 h 118"/>
                <a:gd name="T68" fmla="*/ 75 w 109"/>
                <a:gd name="T69" fmla="*/ 27 h 118"/>
                <a:gd name="T70" fmla="*/ 49 w 109"/>
                <a:gd name="T71" fmla="*/ 20 h 118"/>
                <a:gd name="T72" fmla="*/ 0 w 109"/>
                <a:gd name="T73" fmla="*/ 69 h 118"/>
                <a:gd name="T74" fmla="*/ 49 w 109"/>
                <a:gd name="T75" fmla="*/ 118 h 118"/>
                <a:gd name="T76" fmla="*/ 98 w 109"/>
                <a:gd name="T77" fmla="*/ 69 h 118"/>
                <a:gd name="T78" fmla="*/ 85 w 109"/>
                <a:gd name="T79" fmla="*/ 36 h 118"/>
                <a:gd name="T80" fmla="*/ 109 w 109"/>
                <a:gd name="T81" fmla="*/ 15 h 118"/>
                <a:gd name="T82" fmla="*/ 95 w 109"/>
                <a:gd name="T83" fmla="*/ 13 h 118"/>
                <a:gd name="T84" fmla="*/ 91 w 109"/>
                <a:gd name="T85" fmla="*/ 0 h 118"/>
                <a:gd name="T86" fmla="*/ 78 w 109"/>
                <a:gd name="T87" fmla="*/ 22 h 118"/>
                <a:gd name="T88" fmla="*/ 79 w 109"/>
                <a:gd name="T89" fmla="*/ 28 h 118"/>
                <a:gd name="T90" fmla="*/ 49 w 109"/>
                <a:gd name="T91" fmla="*/ 65 h 118"/>
                <a:gd name="T92" fmla="*/ 49 w 109"/>
                <a:gd name="T93" fmla="*/ 69 h 118"/>
                <a:gd name="T94" fmla="*/ 53 w 109"/>
                <a:gd name="T95" fmla="*/ 68 h 118"/>
                <a:gd name="T96" fmla="*/ 83 w 109"/>
                <a:gd name="T97" fmla="*/ 32 h 118"/>
                <a:gd name="T98" fmla="*/ 90 w 109"/>
                <a:gd name="T99" fmla="*/ 32 h 118"/>
                <a:gd name="T100" fmla="*/ 109 w 109"/>
                <a:gd name="T101" fmla="*/ 15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9" h="118">
                  <a:moveTo>
                    <a:pt x="68" y="57"/>
                  </a:moveTo>
                  <a:cubicBezTo>
                    <a:pt x="70" y="60"/>
                    <a:pt x="71" y="64"/>
                    <a:pt x="71" y="69"/>
                  </a:cubicBezTo>
                  <a:cubicBezTo>
                    <a:pt x="71" y="81"/>
                    <a:pt x="61" y="91"/>
                    <a:pt x="49" y="91"/>
                  </a:cubicBezTo>
                  <a:cubicBezTo>
                    <a:pt x="37" y="91"/>
                    <a:pt x="27" y="81"/>
                    <a:pt x="27" y="69"/>
                  </a:cubicBezTo>
                  <a:cubicBezTo>
                    <a:pt x="27" y="57"/>
                    <a:pt x="37" y="47"/>
                    <a:pt x="49" y="47"/>
                  </a:cubicBezTo>
                  <a:cubicBezTo>
                    <a:pt x="52" y="47"/>
                    <a:pt x="55" y="47"/>
                    <a:pt x="58" y="48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3" y="52"/>
                    <a:pt x="51" y="52"/>
                    <a:pt x="49" y="52"/>
                  </a:cubicBezTo>
                  <a:cubicBezTo>
                    <a:pt x="40" y="52"/>
                    <a:pt x="32" y="59"/>
                    <a:pt x="32" y="69"/>
                  </a:cubicBezTo>
                  <a:cubicBezTo>
                    <a:pt x="32" y="78"/>
                    <a:pt x="40" y="86"/>
                    <a:pt x="49" y="86"/>
                  </a:cubicBezTo>
                  <a:cubicBezTo>
                    <a:pt x="59" y="86"/>
                    <a:pt x="66" y="78"/>
                    <a:pt x="66" y="69"/>
                  </a:cubicBezTo>
                  <a:cubicBezTo>
                    <a:pt x="66" y="66"/>
                    <a:pt x="65" y="63"/>
                    <a:pt x="64" y="61"/>
                  </a:cubicBezTo>
                  <a:lnTo>
                    <a:pt x="68" y="57"/>
                  </a:lnTo>
                  <a:close/>
                  <a:moveTo>
                    <a:pt x="73" y="50"/>
                  </a:moveTo>
                  <a:cubicBezTo>
                    <a:pt x="77" y="55"/>
                    <a:pt x="80" y="62"/>
                    <a:pt x="80" y="69"/>
                  </a:cubicBezTo>
                  <a:cubicBezTo>
                    <a:pt x="80" y="86"/>
                    <a:pt x="66" y="99"/>
                    <a:pt x="49" y="99"/>
                  </a:cubicBezTo>
                  <a:cubicBezTo>
                    <a:pt x="32" y="99"/>
                    <a:pt x="19" y="86"/>
                    <a:pt x="19" y="69"/>
                  </a:cubicBezTo>
                  <a:cubicBezTo>
                    <a:pt x="19" y="52"/>
                    <a:pt x="32" y="38"/>
                    <a:pt x="49" y="38"/>
                  </a:cubicBezTo>
                  <a:cubicBezTo>
                    <a:pt x="54" y="38"/>
                    <a:pt x="59" y="40"/>
                    <a:pt x="63" y="42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1" y="35"/>
                    <a:pt x="55" y="33"/>
                    <a:pt x="49" y="33"/>
                  </a:cubicBezTo>
                  <a:cubicBezTo>
                    <a:pt x="30" y="33"/>
                    <a:pt x="14" y="49"/>
                    <a:pt x="14" y="69"/>
                  </a:cubicBezTo>
                  <a:cubicBezTo>
                    <a:pt x="14" y="88"/>
                    <a:pt x="30" y="104"/>
                    <a:pt x="49" y="104"/>
                  </a:cubicBezTo>
                  <a:cubicBezTo>
                    <a:pt x="69" y="104"/>
                    <a:pt x="85" y="88"/>
                    <a:pt x="85" y="69"/>
                  </a:cubicBezTo>
                  <a:cubicBezTo>
                    <a:pt x="85" y="60"/>
                    <a:pt x="82" y="52"/>
                    <a:pt x="76" y="46"/>
                  </a:cubicBezTo>
                  <a:lnTo>
                    <a:pt x="73" y="50"/>
                  </a:lnTo>
                  <a:close/>
                  <a:moveTo>
                    <a:pt x="85" y="36"/>
                  </a:moveTo>
                  <a:cubicBezTo>
                    <a:pt x="82" y="39"/>
                    <a:pt x="82" y="39"/>
                    <a:pt x="82" y="39"/>
                  </a:cubicBezTo>
                  <a:cubicBezTo>
                    <a:pt x="89" y="47"/>
                    <a:pt x="93" y="57"/>
                    <a:pt x="93" y="69"/>
                  </a:cubicBezTo>
                  <a:cubicBezTo>
                    <a:pt x="93" y="93"/>
                    <a:pt x="74" y="113"/>
                    <a:pt x="49" y="113"/>
                  </a:cubicBezTo>
                  <a:cubicBezTo>
                    <a:pt x="25" y="113"/>
                    <a:pt x="5" y="93"/>
                    <a:pt x="5" y="69"/>
                  </a:cubicBezTo>
                  <a:cubicBezTo>
                    <a:pt x="5" y="44"/>
                    <a:pt x="25" y="25"/>
                    <a:pt x="49" y="25"/>
                  </a:cubicBezTo>
                  <a:cubicBezTo>
                    <a:pt x="58" y="25"/>
                    <a:pt x="65" y="27"/>
                    <a:pt x="72" y="31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67" y="22"/>
                    <a:pt x="59" y="20"/>
                    <a:pt x="49" y="20"/>
                  </a:cubicBezTo>
                  <a:cubicBezTo>
                    <a:pt x="22" y="20"/>
                    <a:pt x="0" y="42"/>
                    <a:pt x="0" y="69"/>
                  </a:cubicBezTo>
                  <a:cubicBezTo>
                    <a:pt x="0" y="96"/>
                    <a:pt x="22" y="118"/>
                    <a:pt x="49" y="118"/>
                  </a:cubicBezTo>
                  <a:cubicBezTo>
                    <a:pt x="76" y="118"/>
                    <a:pt x="98" y="96"/>
                    <a:pt x="98" y="69"/>
                  </a:cubicBezTo>
                  <a:cubicBezTo>
                    <a:pt x="98" y="56"/>
                    <a:pt x="93" y="44"/>
                    <a:pt x="85" y="36"/>
                  </a:cubicBezTo>
                  <a:close/>
                  <a:moveTo>
                    <a:pt x="109" y="15"/>
                  </a:moveTo>
                  <a:cubicBezTo>
                    <a:pt x="95" y="13"/>
                    <a:pt x="95" y="13"/>
                    <a:pt x="95" y="1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8" y="66"/>
                    <a:pt x="48" y="68"/>
                    <a:pt x="49" y="69"/>
                  </a:cubicBezTo>
                  <a:cubicBezTo>
                    <a:pt x="51" y="70"/>
                    <a:pt x="52" y="70"/>
                    <a:pt x="53" y="68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90" y="32"/>
                    <a:pt x="90" y="32"/>
                    <a:pt x="90" y="32"/>
                  </a:cubicBezTo>
                  <a:lnTo>
                    <a:pt x="109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202" tIns="45601" rIns="91202" bIns="45601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</p:grpSp>
      <p:sp>
        <p:nvSpPr>
          <p:cNvPr id="52" name="Rectangle 494">
            <a:extLst>
              <a:ext uri="{FF2B5EF4-FFF2-40B4-BE49-F238E27FC236}">
                <a16:creationId xmlns:a16="http://schemas.microsoft.com/office/drawing/2014/main" id="{54169CDF-B330-4076-AEBD-E8ECA428C5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5808" y="4554301"/>
            <a:ext cx="278627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 alt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acción de </a:t>
            </a:r>
            <a:r>
              <a:rPr lang="en-GB" altLang="ru-R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iegos</a:t>
            </a:r>
            <a:r>
              <a:rPr lang="en-GB" alt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PI</a:t>
            </a:r>
          </a:p>
          <a:p>
            <a:pPr eaLnBrk="0" hangingPunct="0"/>
            <a:endParaRPr lang="en-GB" alt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/>
            <a:endParaRPr lang="en-GB" alt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hangingPunct="0"/>
            <a:endParaRPr lang="en-GB" altLang="ru-RU" sz="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3" name="Grupo 52">
            <a:extLst>
              <a:ext uri="{FF2B5EF4-FFF2-40B4-BE49-F238E27FC236}">
                <a16:creationId xmlns:a16="http://schemas.microsoft.com/office/drawing/2014/main" id="{FEDD5C2A-5AB3-4587-B1DF-A4BEFD060F46}"/>
              </a:ext>
            </a:extLst>
          </p:cNvPr>
          <p:cNvGrpSpPr/>
          <p:nvPr/>
        </p:nvGrpSpPr>
        <p:grpSpPr>
          <a:xfrm>
            <a:off x="8285669" y="4507232"/>
            <a:ext cx="705278" cy="708086"/>
            <a:chOff x="7458740" y="4589103"/>
            <a:chExt cx="707119" cy="709935"/>
          </a:xfrm>
        </p:grpSpPr>
        <p:sp>
          <p:nvSpPr>
            <p:cNvPr id="54" name="Oval 509">
              <a:extLst>
                <a:ext uri="{FF2B5EF4-FFF2-40B4-BE49-F238E27FC236}">
                  <a16:creationId xmlns:a16="http://schemas.microsoft.com/office/drawing/2014/main" id="{E2F92CB2-BEA0-4D33-B48A-E712885C0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8740" y="4589103"/>
              <a:ext cx="707119" cy="709935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202" tIns="45601" rIns="91202" bIns="45601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55" name="Shape 2684">
              <a:extLst>
                <a:ext uri="{FF2B5EF4-FFF2-40B4-BE49-F238E27FC236}">
                  <a16:creationId xmlns:a16="http://schemas.microsoft.com/office/drawing/2014/main" id="{292939B2-B708-40F1-B95F-2B86DECAA862}"/>
                </a:ext>
              </a:extLst>
            </p:cNvPr>
            <p:cNvSpPr/>
            <p:nvPr/>
          </p:nvSpPr>
          <p:spPr>
            <a:xfrm>
              <a:off x="7542813" y="4628167"/>
              <a:ext cx="538974" cy="5395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0" extrusionOk="0">
                  <a:moveTo>
                    <a:pt x="4418" y="19095"/>
                  </a:moveTo>
                  <a:lnTo>
                    <a:pt x="5400" y="19095"/>
                  </a:lnTo>
                  <a:lnTo>
                    <a:pt x="5400" y="18117"/>
                  </a:lnTo>
                  <a:lnTo>
                    <a:pt x="4418" y="18117"/>
                  </a:lnTo>
                  <a:cubicBezTo>
                    <a:pt x="4418" y="18117"/>
                    <a:pt x="4418" y="19095"/>
                    <a:pt x="4418" y="19095"/>
                  </a:cubicBezTo>
                  <a:close/>
                  <a:moveTo>
                    <a:pt x="6382" y="16160"/>
                  </a:moveTo>
                  <a:lnTo>
                    <a:pt x="5400" y="16160"/>
                  </a:lnTo>
                  <a:lnTo>
                    <a:pt x="5400" y="17139"/>
                  </a:lnTo>
                  <a:lnTo>
                    <a:pt x="6382" y="17139"/>
                  </a:lnTo>
                  <a:cubicBezTo>
                    <a:pt x="6382" y="17139"/>
                    <a:pt x="6382" y="16160"/>
                    <a:pt x="6382" y="16160"/>
                  </a:cubicBezTo>
                  <a:close/>
                  <a:moveTo>
                    <a:pt x="2455" y="19095"/>
                  </a:moveTo>
                  <a:lnTo>
                    <a:pt x="3436" y="19095"/>
                  </a:lnTo>
                  <a:lnTo>
                    <a:pt x="3436" y="18117"/>
                  </a:lnTo>
                  <a:lnTo>
                    <a:pt x="2455" y="18117"/>
                  </a:lnTo>
                  <a:cubicBezTo>
                    <a:pt x="2455" y="18117"/>
                    <a:pt x="2455" y="19095"/>
                    <a:pt x="2455" y="19095"/>
                  </a:cubicBezTo>
                  <a:close/>
                  <a:moveTo>
                    <a:pt x="4418" y="16160"/>
                  </a:moveTo>
                  <a:lnTo>
                    <a:pt x="2455" y="16160"/>
                  </a:lnTo>
                  <a:lnTo>
                    <a:pt x="2455" y="17139"/>
                  </a:lnTo>
                  <a:lnTo>
                    <a:pt x="4418" y="17139"/>
                  </a:lnTo>
                  <a:cubicBezTo>
                    <a:pt x="4418" y="17139"/>
                    <a:pt x="4418" y="16160"/>
                    <a:pt x="4418" y="16160"/>
                  </a:cubicBezTo>
                  <a:close/>
                  <a:moveTo>
                    <a:pt x="3436" y="12248"/>
                  </a:moveTo>
                  <a:lnTo>
                    <a:pt x="2455" y="12248"/>
                  </a:lnTo>
                  <a:lnTo>
                    <a:pt x="2455" y="13226"/>
                  </a:lnTo>
                  <a:lnTo>
                    <a:pt x="3436" y="13226"/>
                  </a:lnTo>
                  <a:cubicBezTo>
                    <a:pt x="3436" y="13226"/>
                    <a:pt x="3436" y="12248"/>
                    <a:pt x="3436" y="12248"/>
                  </a:cubicBezTo>
                  <a:close/>
                  <a:moveTo>
                    <a:pt x="3436" y="14204"/>
                  </a:moveTo>
                  <a:lnTo>
                    <a:pt x="2455" y="14204"/>
                  </a:lnTo>
                  <a:lnTo>
                    <a:pt x="2455" y="15182"/>
                  </a:lnTo>
                  <a:lnTo>
                    <a:pt x="3436" y="15182"/>
                  </a:lnTo>
                  <a:cubicBezTo>
                    <a:pt x="3436" y="15182"/>
                    <a:pt x="3436" y="14204"/>
                    <a:pt x="3436" y="14204"/>
                  </a:cubicBezTo>
                  <a:close/>
                  <a:moveTo>
                    <a:pt x="6382" y="19095"/>
                  </a:moveTo>
                  <a:lnTo>
                    <a:pt x="13255" y="19095"/>
                  </a:lnTo>
                  <a:lnTo>
                    <a:pt x="13255" y="18117"/>
                  </a:lnTo>
                  <a:lnTo>
                    <a:pt x="6382" y="18117"/>
                  </a:lnTo>
                  <a:cubicBezTo>
                    <a:pt x="6382" y="18117"/>
                    <a:pt x="6382" y="19095"/>
                    <a:pt x="6382" y="19095"/>
                  </a:cubicBezTo>
                  <a:close/>
                  <a:moveTo>
                    <a:pt x="18164" y="15182"/>
                  </a:moveTo>
                  <a:lnTo>
                    <a:pt x="19145" y="15182"/>
                  </a:lnTo>
                  <a:lnTo>
                    <a:pt x="19145" y="14204"/>
                  </a:lnTo>
                  <a:lnTo>
                    <a:pt x="18164" y="14204"/>
                  </a:lnTo>
                  <a:cubicBezTo>
                    <a:pt x="18164" y="14204"/>
                    <a:pt x="18164" y="15182"/>
                    <a:pt x="18164" y="15182"/>
                  </a:cubicBezTo>
                  <a:close/>
                  <a:moveTo>
                    <a:pt x="5400" y="14204"/>
                  </a:moveTo>
                  <a:lnTo>
                    <a:pt x="4418" y="14204"/>
                  </a:lnTo>
                  <a:lnTo>
                    <a:pt x="4418" y="15182"/>
                  </a:lnTo>
                  <a:lnTo>
                    <a:pt x="5400" y="15182"/>
                  </a:lnTo>
                  <a:cubicBezTo>
                    <a:pt x="5400" y="15182"/>
                    <a:pt x="5400" y="14204"/>
                    <a:pt x="5400" y="14204"/>
                  </a:cubicBezTo>
                  <a:close/>
                  <a:moveTo>
                    <a:pt x="14236" y="16160"/>
                  </a:moveTo>
                  <a:lnTo>
                    <a:pt x="13255" y="16160"/>
                  </a:lnTo>
                  <a:lnTo>
                    <a:pt x="13255" y="17139"/>
                  </a:lnTo>
                  <a:lnTo>
                    <a:pt x="14236" y="17139"/>
                  </a:lnTo>
                  <a:cubicBezTo>
                    <a:pt x="14236" y="17139"/>
                    <a:pt x="14236" y="16160"/>
                    <a:pt x="14236" y="16160"/>
                  </a:cubicBezTo>
                  <a:close/>
                  <a:moveTo>
                    <a:pt x="20618" y="19584"/>
                  </a:moveTo>
                  <a:cubicBezTo>
                    <a:pt x="20618" y="20124"/>
                    <a:pt x="20178" y="20562"/>
                    <a:pt x="19636" y="20562"/>
                  </a:cubicBezTo>
                  <a:lnTo>
                    <a:pt x="1964" y="20562"/>
                  </a:lnTo>
                  <a:cubicBezTo>
                    <a:pt x="1421" y="20562"/>
                    <a:pt x="982" y="20124"/>
                    <a:pt x="982" y="19584"/>
                  </a:cubicBezTo>
                  <a:lnTo>
                    <a:pt x="982" y="11759"/>
                  </a:lnTo>
                  <a:cubicBezTo>
                    <a:pt x="982" y="11219"/>
                    <a:pt x="1421" y="10781"/>
                    <a:pt x="1964" y="10781"/>
                  </a:cubicBezTo>
                  <a:lnTo>
                    <a:pt x="19636" y="10781"/>
                  </a:lnTo>
                  <a:cubicBezTo>
                    <a:pt x="20178" y="10781"/>
                    <a:pt x="20618" y="11219"/>
                    <a:pt x="20618" y="11759"/>
                  </a:cubicBezTo>
                  <a:cubicBezTo>
                    <a:pt x="20618" y="11759"/>
                    <a:pt x="20618" y="19584"/>
                    <a:pt x="20618" y="19584"/>
                  </a:cubicBezTo>
                  <a:close/>
                  <a:moveTo>
                    <a:pt x="19636" y="9803"/>
                  </a:moveTo>
                  <a:lnTo>
                    <a:pt x="10965" y="9803"/>
                  </a:lnTo>
                  <a:cubicBezTo>
                    <a:pt x="10831" y="9456"/>
                    <a:pt x="10774" y="9056"/>
                    <a:pt x="10870" y="8651"/>
                  </a:cubicBezTo>
                  <a:cubicBezTo>
                    <a:pt x="11059" y="7853"/>
                    <a:pt x="11782" y="7224"/>
                    <a:pt x="12961" y="6833"/>
                  </a:cubicBezTo>
                  <a:cubicBezTo>
                    <a:pt x="14940" y="6175"/>
                    <a:pt x="15841" y="4938"/>
                    <a:pt x="16249" y="4015"/>
                  </a:cubicBezTo>
                  <a:cubicBezTo>
                    <a:pt x="16747" y="2886"/>
                    <a:pt x="16801" y="1546"/>
                    <a:pt x="16396" y="335"/>
                  </a:cubicBezTo>
                  <a:cubicBezTo>
                    <a:pt x="16310" y="79"/>
                    <a:pt x="16032" y="-60"/>
                    <a:pt x="15774" y="25"/>
                  </a:cubicBezTo>
                  <a:cubicBezTo>
                    <a:pt x="15517" y="112"/>
                    <a:pt x="15378" y="388"/>
                    <a:pt x="15464" y="644"/>
                  </a:cubicBezTo>
                  <a:cubicBezTo>
                    <a:pt x="16091" y="2519"/>
                    <a:pt x="15480" y="4964"/>
                    <a:pt x="12650" y="5904"/>
                  </a:cubicBezTo>
                  <a:cubicBezTo>
                    <a:pt x="10733" y="6542"/>
                    <a:pt x="10105" y="7627"/>
                    <a:pt x="9915" y="8427"/>
                  </a:cubicBezTo>
                  <a:cubicBezTo>
                    <a:pt x="9809" y="8876"/>
                    <a:pt x="9824" y="9351"/>
                    <a:pt x="9937" y="9803"/>
                  </a:cubicBezTo>
                  <a:lnTo>
                    <a:pt x="1964" y="9803"/>
                  </a:lnTo>
                  <a:cubicBezTo>
                    <a:pt x="879" y="9803"/>
                    <a:pt x="0" y="10679"/>
                    <a:pt x="0" y="11759"/>
                  </a:cubicBezTo>
                  <a:lnTo>
                    <a:pt x="0" y="19584"/>
                  </a:lnTo>
                  <a:cubicBezTo>
                    <a:pt x="0" y="20664"/>
                    <a:pt x="879" y="21540"/>
                    <a:pt x="1964" y="21540"/>
                  </a:cubicBezTo>
                  <a:lnTo>
                    <a:pt x="19636" y="21540"/>
                  </a:lnTo>
                  <a:cubicBezTo>
                    <a:pt x="20721" y="21540"/>
                    <a:pt x="21600" y="20664"/>
                    <a:pt x="21600" y="19584"/>
                  </a:cubicBezTo>
                  <a:lnTo>
                    <a:pt x="21600" y="11759"/>
                  </a:lnTo>
                  <a:cubicBezTo>
                    <a:pt x="21600" y="10679"/>
                    <a:pt x="20721" y="9803"/>
                    <a:pt x="19636" y="9803"/>
                  </a:cubicBezTo>
                  <a:moveTo>
                    <a:pt x="17182" y="17139"/>
                  </a:moveTo>
                  <a:lnTo>
                    <a:pt x="19145" y="17139"/>
                  </a:lnTo>
                  <a:lnTo>
                    <a:pt x="19145" y="16160"/>
                  </a:lnTo>
                  <a:lnTo>
                    <a:pt x="17182" y="16160"/>
                  </a:lnTo>
                  <a:cubicBezTo>
                    <a:pt x="17182" y="16160"/>
                    <a:pt x="17182" y="17139"/>
                    <a:pt x="17182" y="17139"/>
                  </a:cubicBezTo>
                  <a:close/>
                  <a:moveTo>
                    <a:pt x="14236" y="19095"/>
                  </a:moveTo>
                  <a:lnTo>
                    <a:pt x="15218" y="19095"/>
                  </a:lnTo>
                  <a:lnTo>
                    <a:pt x="15218" y="18117"/>
                  </a:lnTo>
                  <a:lnTo>
                    <a:pt x="14236" y="18117"/>
                  </a:lnTo>
                  <a:cubicBezTo>
                    <a:pt x="14236" y="18117"/>
                    <a:pt x="14236" y="19095"/>
                    <a:pt x="14236" y="19095"/>
                  </a:cubicBezTo>
                  <a:close/>
                  <a:moveTo>
                    <a:pt x="16200" y="19095"/>
                  </a:moveTo>
                  <a:lnTo>
                    <a:pt x="17182" y="19095"/>
                  </a:lnTo>
                  <a:lnTo>
                    <a:pt x="17182" y="18117"/>
                  </a:lnTo>
                  <a:lnTo>
                    <a:pt x="16200" y="18117"/>
                  </a:lnTo>
                  <a:cubicBezTo>
                    <a:pt x="16200" y="18117"/>
                    <a:pt x="16200" y="19095"/>
                    <a:pt x="16200" y="19095"/>
                  </a:cubicBezTo>
                  <a:close/>
                  <a:moveTo>
                    <a:pt x="18164" y="19095"/>
                  </a:moveTo>
                  <a:lnTo>
                    <a:pt x="19145" y="19095"/>
                  </a:lnTo>
                  <a:lnTo>
                    <a:pt x="19145" y="18117"/>
                  </a:lnTo>
                  <a:lnTo>
                    <a:pt x="18164" y="18117"/>
                  </a:lnTo>
                  <a:cubicBezTo>
                    <a:pt x="18164" y="18117"/>
                    <a:pt x="18164" y="19095"/>
                    <a:pt x="18164" y="19095"/>
                  </a:cubicBezTo>
                  <a:close/>
                  <a:moveTo>
                    <a:pt x="16200" y="16160"/>
                  </a:moveTo>
                  <a:lnTo>
                    <a:pt x="15218" y="16160"/>
                  </a:lnTo>
                  <a:lnTo>
                    <a:pt x="15218" y="17139"/>
                  </a:lnTo>
                  <a:lnTo>
                    <a:pt x="16200" y="17139"/>
                  </a:lnTo>
                  <a:cubicBezTo>
                    <a:pt x="16200" y="17139"/>
                    <a:pt x="16200" y="16160"/>
                    <a:pt x="16200" y="16160"/>
                  </a:cubicBezTo>
                  <a:close/>
                  <a:moveTo>
                    <a:pt x="18164" y="13226"/>
                  </a:moveTo>
                  <a:lnTo>
                    <a:pt x="19145" y="13226"/>
                  </a:lnTo>
                  <a:lnTo>
                    <a:pt x="19145" y="12248"/>
                  </a:lnTo>
                  <a:lnTo>
                    <a:pt x="18164" y="12248"/>
                  </a:lnTo>
                  <a:cubicBezTo>
                    <a:pt x="18164" y="12248"/>
                    <a:pt x="18164" y="13226"/>
                    <a:pt x="18164" y="13226"/>
                  </a:cubicBezTo>
                  <a:close/>
                  <a:moveTo>
                    <a:pt x="13255" y="12248"/>
                  </a:moveTo>
                  <a:lnTo>
                    <a:pt x="12273" y="12248"/>
                  </a:lnTo>
                  <a:lnTo>
                    <a:pt x="12273" y="13226"/>
                  </a:lnTo>
                  <a:lnTo>
                    <a:pt x="13255" y="13226"/>
                  </a:lnTo>
                  <a:cubicBezTo>
                    <a:pt x="13255" y="13226"/>
                    <a:pt x="13255" y="12248"/>
                    <a:pt x="13255" y="12248"/>
                  </a:cubicBezTo>
                  <a:close/>
                  <a:moveTo>
                    <a:pt x="13255" y="14204"/>
                  </a:moveTo>
                  <a:lnTo>
                    <a:pt x="12273" y="14204"/>
                  </a:lnTo>
                  <a:lnTo>
                    <a:pt x="12273" y="15182"/>
                  </a:lnTo>
                  <a:lnTo>
                    <a:pt x="13255" y="15182"/>
                  </a:lnTo>
                  <a:cubicBezTo>
                    <a:pt x="13255" y="15182"/>
                    <a:pt x="13255" y="14204"/>
                    <a:pt x="13255" y="14204"/>
                  </a:cubicBezTo>
                  <a:close/>
                  <a:moveTo>
                    <a:pt x="15218" y="14204"/>
                  </a:moveTo>
                  <a:lnTo>
                    <a:pt x="14236" y="14204"/>
                  </a:lnTo>
                  <a:lnTo>
                    <a:pt x="14236" y="15182"/>
                  </a:lnTo>
                  <a:lnTo>
                    <a:pt x="15218" y="15182"/>
                  </a:lnTo>
                  <a:cubicBezTo>
                    <a:pt x="15218" y="15182"/>
                    <a:pt x="15218" y="14204"/>
                    <a:pt x="15218" y="14204"/>
                  </a:cubicBezTo>
                  <a:close/>
                  <a:moveTo>
                    <a:pt x="17182" y="14204"/>
                  </a:moveTo>
                  <a:lnTo>
                    <a:pt x="16200" y="14204"/>
                  </a:lnTo>
                  <a:lnTo>
                    <a:pt x="16200" y="15182"/>
                  </a:lnTo>
                  <a:lnTo>
                    <a:pt x="17182" y="15182"/>
                  </a:lnTo>
                  <a:cubicBezTo>
                    <a:pt x="17182" y="15182"/>
                    <a:pt x="17182" y="14204"/>
                    <a:pt x="17182" y="14204"/>
                  </a:cubicBezTo>
                  <a:close/>
                  <a:moveTo>
                    <a:pt x="15218" y="12248"/>
                  </a:moveTo>
                  <a:lnTo>
                    <a:pt x="14236" y="12248"/>
                  </a:lnTo>
                  <a:lnTo>
                    <a:pt x="14236" y="13226"/>
                  </a:lnTo>
                  <a:lnTo>
                    <a:pt x="15218" y="13226"/>
                  </a:lnTo>
                  <a:cubicBezTo>
                    <a:pt x="15218" y="13226"/>
                    <a:pt x="15218" y="12248"/>
                    <a:pt x="15218" y="12248"/>
                  </a:cubicBezTo>
                  <a:close/>
                  <a:moveTo>
                    <a:pt x="17182" y="12248"/>
                  </a:moveTo>
                  <a:lnTo>
                    <a:pt x="16200" y="12248"/>
                  </a:lnTo>
                  <a:lnTo>
                    <a:pt x="16200" y="13226"/>
                  </a:lnTo>
                  <a:lnTo>
                    <a:pt x="17182" y="13226"/>
                  </a:lnTo>
                  <a:cubicBezTo>
                    <a:pt x="17182" y="13226"/>
                    <a:pt x="17182" y="12248"/>
                    <a:pt x="17182" y="12248"/>
                  </a:cubicBezTo>
                  <a:close/>
                  <a:moveTo>
                    <a:pt x="11291" y="12248"/>
                  </a:moveTo>
                  <a:lnTo>
                    <a:pt x="10309" y="12248"/>
                  </a:lnTo>
                  <a:lnTo>
                    <a:pt x="10309" y="13226"/>
                  </a:lnTo>
                  <a:lnTo>
                    <a:pt x="11291" y="13226"/>
                  </a:lnTo>
                  <a:cubicBezTo>
                    <a:pt x="11291" y="13226"/>
                    <a:pt x="11291" y="12248"/>
                    <a:pt x="11291" y="12248"/>
                  </a:cubicBezTo>
                  <a:close/>
                  <a:moveTo>
                    <a:pt x="5400" y="12248"/>
                  </a:moveTo>
                  <a:lnTo>
                    <a:pt x="4418" y="12248"/>
                  </a:lnTo>
                  <a:lnTo>
                    <a:pt x="4418" y="13226"/>
                  </a:lnTo>
                  <a:lnTo>
                    <a:pt x="5400" y="13226"/>
                  </a:lnTo>
                  <a:cubicBezTo>
                    <a:pt x="5400" y="13226"/>
                    <a:pt x="5400" y="12248"/>
                    <a:pt x="5400" y="12248"/>
                  </a:cubicBezTo>
                  <a:close/>
                  <a:moveTo>
                    <a:pt x="7364" y="17139"/>
                  </a:moveTo>
                  <a:lnTo>
                    <a:pt x="8345" y="17139"/>
                  </a:lnTo>
                  <a:lnTo>
                    <a:pt x="8345" y="16160"/>
                  </a:lnTo>
                  <a:lnTo>
                    <a:pt x="7364" y="16160"/>
                  </a:lnTo>
                  <a:cubicBezTo>
                    <a:pt x="7364" y="16160"/>
                    <a:pt x="7364" y="17139"/>
                    <a:pt x="7364" y="17139"/>
                  </a:cubicBezTo>
                  <a:close/>
                  <a:moveTo>
                    <a:pt x="7364" y="14204"/>
                  </a:moveTo>
                  <a:lnTo>
                    <a:pt x="6382" y="14204"/>
                  </a:lnTo>
                  <a:lnTo>
                    <a:pt x="6382" y="15182"/>
                  </a:lnTo>
                  <a:lnTo>
                    <a:pt x="7364" y="15182"/>
                  </a:lnTo>
                  <a:cubicBezTo>
                    <a:pt x="7364" y="15182"/>
                    <a:pt x="7364" y="14204"/>
                    <a:pt x="7364" y="14204"/>
                  </a:cubicBezTo>
                  <a:close/>
                  <a:moveTo>
                    <a:pt x="7364" y="12248"/>
                  </a:moveTo>
                  <a:lnTo>
                    <a:pt x="6382" y="12248"/>
                  </a:lnTo>
                  <a:lnTo>
                    <a:pt x="6382" y="13226"/>
                  </a:lnTo>
                  <a:lnTo>
                    <a:pt x="7364" y="13226"/>
                  </a:lnTo>
                  <a:cubicBezTo>
                    <a:pt x="7364" y="13226"/>
                    <a:pt x="7364" y="12248"/>
                    <a:pt x="7364" y="12248"/>
                  </a:cubicBezTo>
                  <a:close/>
                  <a:moveTo>
                    <a:pt x="9327" y="14204"/>
                  </a:moveTo>
                  <a:lnTo>
                    <a:pt x="8345" y="14204"/>
                  </a:lnTo>
                  <a:lnTo>
                    <a:pt x="8345" y="15182"/>
                  </a:lnTo>
                  <a:lnTo>
                    <a:pt x="9327" y="15182"/>
                  </a:lnTo>
                  <a:cubicBezTo>
                    <a:pt x="9327" y="15182"/>
                    <a:pt x="9327" y="14204"/>
                    <a:pt x="9327" y="14204"/>
                  </a:cubicBezTo>
                  <a:close/>
                  <a:moveTo>
                    <a:pt x="11291" y="14204"/>
                  </a:moveTo>
                  <a:lnTo>
                    <a:pt x="10309" y="14204"/>
                  </a:lnTo>
                  <a:lnTo>
                    <a:pt x="10309" y="15182"/>
                  </a:lnTo>
                  <a:lnTo>
                    <a:pt x="11291" y="15182"/>
                  </a:lnTo>
                  <a:cubicBezTo>
                    <a:pt x="11291" y="15182"/>
                    <a:pt x="11291" y="14204"/>
                    <a:pt x="11291" y="14204"/>
                  </a:cubicBezTo>
                  <a:close/>
                  <a:moveTo>
                    <a:pt x="9327" y="12248"/>
                  </a:moveTo>
                  <a:lnTo>
                    <a:pt x="8345" y="12248"/>
                  </a:lnTo>
                  <a:lnTo>
                    <a:pt x="8345" y="13226"/>
                  </a:lnTo>
                  <a:lnTo>
                    <a:pt x="9327" y="13226"/>
                  </a:lnTo>
                  <a:cubicBezTo>
                    <a:pt x="9327" y="13226"/>
                    <a:pt x="9327" y="12248"/>
                    <a:pt x="9327" y="12248"/>
                  </a:cubicBezTo>
                  <a:close/>
                  <a:moveTo>
                    <a:pt x="11291" y="17139"/>
                  </a:moveTo>
                  <a:lnTo>
                    <a:pt x="12273" y="17139"/>
                  </a:lnTo>
                  <a:lnTo>
                    <a:pt x="12273" y="16160"/>
                  </a:lnTo>
                  <a:lnTo>
                    <a:pt x="11291" y="16160"/>
                  </a:lnTo>
                  <a:cubicBezTo>
                    <a:pt x="11291" y="16160"/>
                    <a:pt x="11291" y="17139"/>
                    <a:pt x="11291" y="17139"/>
                  </a:cubicBezTo>
                  <a:close/>
                  <a:moveTo>
                    <a:pt x="9327" y="17139"/>
                  </a:moveTo>
                  <a:lnTo>
                    <a:pt x="10309" y="17139"/>
                  </a:lnTo>
                  <a:lnTo>
                    <a:pt x="10309" y="16160"/>
                  </a:lnTo>
                  <a:lnTo>
                    <a:pt x="9327" y="16160"/>
                  </a:lnTo>
                  <a:cubicBezTo>
                    <a:pt x="9327" y="16160"/>
                    <a:pt x="9327" y="17139"/>
                    <a:pt x="9327" y="17139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noFill/>
              <a:miter lim="400000"/>
            </a:ln>
          </p:spPr>
          <p:txBody>
            <a:bodyPr lIns="37991" tIns="37991" rIns="37991" bIns="37991" anchor="ctr"/>
            <a:lstStyle/>
            <a:p>
              <a:pPr defTabSz="455875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lang="en-GB" sz="3200">
                <a:solidFill>
                  <a:schemeClr val="bg1"/>
                </a:solidFill>
              </a:endParaRPr>
            </a:p>
          </p:txBody>
        </p:sp>
      </p:grpSp>
      <p:sp>
        <p:nvSpPr>
          <p:cNvPr id="4" name="Google Shape;207;p24">
            <a:extLst>
              <a:ext uri="{FF2B5EF4-FFF2-40B4-BE49-F238E27FC236}">
                <a16:creationId xmlns:a16="http://schemas.microsoft.com/office/drawing/2014/main" id="{8018EC3F-7F9B-A441-6933-34A5B3A365C5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12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18082679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uadroTexto 5">
            <a:extLst>
              <a:ext uri="{FF2B5EF4-FFF2-40B4-BE49-F238E27FC236}">
                <a16:creationId xmlns:a16="http://schemas.microsoft.com/office/drawing/2014/main" id="{AABAF9D4-19AD-402A-9185-9ACFB523DDED}"/>
              </a:ext>
            </a:extLst>
          </p:cNvPr>
          <p:cNvSpPr txBox="1"/>
          <p:nvPr/>
        </p:nvSpPr>
        <p:spPr>
          <a:xfrm>
            <a:off x="3547075" y="3204826"/>
            <a:ext cx="4406300" cy="1628459"/>
          </a:xfrm>
          <a:prstGeom prst="rect">
            <a:avLst/>
          </a:prstGeom>
          <a:solidFill>
            <a:schemeClr val="tx2">
              <a:alpha val="68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just">
              <a:lnSpc>
                <a:spcPct val="115000"/>
              </a:lnSpc>
              <a:spcAft>
                <a:spcPts val="800"/>
              </a:spcAft>
            </a:pPr>
            <a:r>
              <a:rPr lang="es-ES" sz="1400" dirty="0">
                <a:solidFill>
                  <a:srgbClr val="FFFFFF"/>
                </a:solidFill>
                <a:latin typeface="Futura PT Book"/>
              </a:rPr>
              <a:t>Cumplimentando el formulario disponible en el trámite “Consulta Preliminar del Mercado: Automatización Tramitación Medios de Intervención Urbanística” alojado en la sede electrónica del Ayuntamiento </a:t>
            </a:r>
            <a:r>
              <a:rPr lang="es-ES" sz="1400" dirty="0">
                <a:solidFill>
                  <a:srgbClr val="FFFFFF"/>
                </a:solidFill>
                <a:latin typeface="Futura PT Book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ede.madrid.es/</a:t>
            </a:r>
            <a:r>
              <a:rPr lang="es-ES" sz="1400" dirty="0">
                <a:solidFill>
                  <a:srgbClr val="FFFFFF"/>
                </a:solidFill>
                <a:latin typeface="Futura PT Book"/>
              </a:rPr>
              <a:t>.</a:t>
            </a:r>
            <a:r>
              <a:rPr lang="es-ES" sz="1800" dirty="0">
                <a:effectLst/>
                <a:latin typeface="Lato" panose="020F0502020204030203" pitchFamily="34" charset="0"/>
                <a:ea typeface="Calibri" panose="020F0502020204030204" pitchFamily="34" charset="0"/>
                <a:cs typeface="Lato-Regular"/>
              </a:rPr>
              <a:t> </a:t>
            </a:r>
            <a:endParaRPr lang="es-E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DA86EC9-8A74-4530-B5A2-798E7C8510E6}"/>
              </a:ext>
            </a:extLst>
          </p:cNvPr>
          <p:cNvSpPr txBox="1"/>
          <p:nvPr/>
        </p:nvSpPr>
        <p:spPr>
          <a:xfrm>
            <a:off x="4132862" y="1882604"/>
            <a:ext cx="3558575" cy="5835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202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3192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PT Book" panose="020B0502020204020303" pitchFamily="34" charset="0"/>
              </a:rPr>
              <a:t>Dudas y preguntas</a:t>
            </a:r>
            <a:endParaRPr lang="es-ES" sz="1795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Futura PT Book" panose="020B0502020204020303" pitchFamily="34" charset="0"/>
            </a:endParaRPr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CB2AC76C-B3A5-4902-8861-5FF20FDE540B}"/>
              </a:ext>
            </a:extLst>
          </p:cNvPr>
          <p:cNvCxnSpPr/>
          <p:nvPr/>
        </p:nvCxnSpPr>
        <p:spPr>
          <a:xfrm>
            <a:off x="575275" y="2218990"/>
            <a:ext cx="12215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34332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5DA86EC9-8A74-4530-B5A2-798E7C8510E6}"/>
              </a:ext>
            </a:extLst>
          </p:cNvPr>
          <p:cNvSpPr txBox="1"/>
          <p:nvPr/>
        </p:nvSpPr>
        <p:spPr>
          <a:xfrm>
            <a:off x="409029" y="1272299"/>
            <a:ext cx="93318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202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anose="00000500000000000000" pitchFamily="2" charset="0"/>
              </a:rPr>
              <a:t>I. Introducción a la Consulta Preliminar al Mercado</a:t>
            </a:r>
            <a:endParaRPr lang="es-E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" panose="00000500000000000000" pitchFamily="2" charset="0"/>
            </a:endParaRPr>
          </a:p>
        </p:txBody>
      </p:sp>
      <p:sp>
        <p:nvSpPr>
          <p:cNvPr id="3" name="Google Shape;207;p24">
            <a:extLst>
              <a:ext uri="{FF2B5EF4-FFF2-40B4-BE49-F238E27FC236}">
                <a16:creationId xmlns:a16="http://schemas.microsoft.com/office/drawing/2014/main" id="{EA8CC7F0-9BC2-C0BA-B676-76B579B4B4E4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2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25386593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458F46E1-BF25-4F33-B5DA-67AF83D4DD03}"/>
              </a:ext>
            </a:extLst>
          </p:cNvPr>
          <p:cNvSpPr/>
          <p:nvPr/>
        </p:nvSpPr>
        <p:spPr>
          <a:xfrm flipV="1">
            <a:off x="1643971" y="0"/>
            <a:ext cx="596957" cy="76277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94000">
                <a:schemeClr val="accent1">
                  <a:lumMod val="20000"/>
                  <a:lumOff val="80000"/>
                </a:schemeClr>
              </a:gs>
              <a:gs pos="83000">
                <a:schemeClr val="tx1"/>
              </a:gs>
              <a:gs pos="100000">
                <a:schemeClr val="accent4">
                  <a:lumMod val="50000"/>
                </a:schemeClr>
              </a:gs>
            </a:gsLst>
            <a:lin ang="13500000" scaled="1"/>
            <a:tileRect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lang="es-ES" sz="3192" dirty="0">
              <a:solidFill>
                <a:schemeClr val="bg1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7DA380F-EAEC-4BE8-BA43-977CAD9EAF52}"/>
              </a:ext>
            </a:extLst>
          </p:cNvPr>
          <p:cNvSpPr txBox="1"/>
          <p:nvPr/>
        </p:nvSpPr>
        <p:spPr>
          <a:xfrm>
            <a:off x="2081100" y="132435"/>
            <a:ext cx="9571851" cy="644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202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359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ncepto de Consulta Preliminar del Mercado</a:t>
            </a:r>
          </a:p>
        </p:txBody>
      </p:sp>
      <p:sp>
        <p:nvSpPr>
          <p:cNvPr id="65" name="Line">
            <a:extLst>
              <a:ext uri="{FF2B5EF4-FFF2-40B4-BE49-F238E27FC236}">
                <a16:creationId xmlns:a16="http://schemas.microsoft.com/office/drawing/2014/main" id="{CB3F9AD6-33C9-487F-951A-F9CA41DF810C}"/>
              </a:ext>
            </a:extLst>
          </p:cNvPr>
          <p:cNvSpPr/>
          <p:nvPr/>
        </p:nvSpPr>
        <p:spPr>
          <a:xfrm rot="5400000">
            <a:off x="667008" y="2222982"/>
            <a:ext cx="2473321" cy="20936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14" y="21600"/>
                </a:moveTo>
                <a:lnTo>
                  <a:pt x="0" y="21576"/>
                </a:lnTo>
                <a:lnTo>
                  <a:pt x="0" y="0"/>
                </a:lnTo>
                <a:lnTo>
                  <a:pt x="21600" y="0"/>
                </a:lnTo>
                <a:lnTo>
                  <a:pt x="21600" y="21572"/>
                </a:lnTo>
                <a:lnTo>
                  <a:pt x="17530" y="21597"/>
                </a:lnTo>
              </a:path>
            </a:pathLst>
          </a:custGeom>
          <a:gradFill>
            <a:gsLst>
              <a:gs pos="0">
                <a:srgbClr val="5C89A4"/>
              </a:gs>
              <a:gs pos="9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5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5400000" scaled="1"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>
              <a:defRPr sz="3600"/>
            </a:pPr>
            <a:endParaRPr sz="3192">
              <a:solidFill>
                <a:schemeClr val="bg1"/>
              </a:solidFill>
            </a:endParaRPr>
          </a:p>
        </p:txBody>
      </p:sp>
      <p:sp>
        <p:nvSpPr>
          <p:cNvPr id="66" name="Presentations">
            <a:extLst>
              <a:ext uri="{FF2B5EF4-FFF2-40B4-BE49-F238E27FC236}">
                <a16:creationId xmlns:a16="http://schemas.microsoft.com/office/drawing/2014/main" id="{3A4AE442-8CB0-466B-9823-B1C36A638FCD}"/>
              </a:ext>
            </a:extLst>
          </p:cNvPr>
          <p:cNvSpPr txBox="1"/>
          <p:nvPr/>
        </p:nvSpPr>
        <p:spPr>
          <a:xfrm>
            <a:off x="1109356" y="2492397"/>
            <a:ext cx="1666188" cy="1554780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334" tIns="25334" rIns="25334" bIns="25334" anchor="ctr">
            <a:spAutoFit/>
          </a:bodyPr>
          <a:lstStyle>
            <a:lvl1pPr algn="l">
              <a:defRPr sz="3200" cap="all" spc="160">
                <a:latin typeface="Lato Bold"/>
                <a:ea typeface="Lato Bold"/>
                <a:cs typeface="Lato Bold"/>
                <a:sym typeface="Lato Bold"/>
              </a:defRPr>
            </a:lvl1pPr>
          </a:lstStyle>
          <a:p>
            <a:pPr algn="just" defTabSz="912023">
              <a:defRPr/>
            </a:pPr>
            <a:r>
              <a:rPr lang="es-ES" sz="1396" b="1" cap="none" spc="0" dirty="0">
                <a:solidFill>
                  <a:schemeClr val="bg1"/>
                </a:solidFill>
                <a:latin typeface="+mn-lt"/>
                <a:ea typeface="Verdana" panose="020B0604030504040204" pitchFamily="34" charset="0"/>
              </a:rPr>
              <a:t> </a:t>
            </a:r>
            <a:r>
              <a:rPr lang="es-ES" sz="1396" dirty="0">
                <a:solidFill>
                  <a:schemeClr val="bg1"/>
                </a:solidFill>
                <a:latin typeface="+mn-lt"/>
                <a:ea typeface="Verdana" panose="020B0604030504040204" pitchFamily="34" charset="0"/>
              </a:rPr>
              <a:t>Se regula en la Ley 9/2017, de 8 de noviembre de Contratos del Sector Público, en el artículo 115.</a:t>
            </a:r>
          </a:p>
        </p:txBody>
      </p:sp>
      <p:sp>
        <p:nvSpPr>
          <p:cNvPr id="68" name="Line">
            <a:extLst>
              <a:ext uri="{FF2B5EF4-FFF2-40B4-BE49-F238E27FC236}">
                <a16:creationId xmlns:a16="http://schemas.microsoft.com/office/drawing/2014/main" id="{2BDFB42A-ECFB-4727-BC35-CA9B0300DB92}"/>
              </a:ext>
            </a:extLst>
          </p:cNvPr>
          <p:cNvSpPr/>
          <p:nvPr/>
        </p:nvSpPr>
        <p:spPr>
          <a:xfrm rot="5400000">
            <a:off x="3531186" y="2230945"/>
            <a:ext cx="2473321" cy="20936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14" y="21600"/>
                </a:moveTo>
                <a:lnTo>
                  <a:pt x="0" y="21576"/>
                </a:lnTo>
                <a:lnTo>
                  <a:pt x="0" y="0"/>
                </a:lnTo>
                <a:lnTo>
                  <a:pt x="21600" y="0"/>
                </a:lnTo>
                <a:lnTo>
                  <a:pt x="21600" y="21572"/>
                </a:lnTo>
                <a:lnTo>
                  <a:pt x="17530" y="21597"/>
                </a:lnTo>
              </a:path>
            </a:pathLst>
          </a:custGeom>
          <a:gradFill>
            <a:gsLst>
              <a:gs pos="0">
                <a:srgbClr val="5C89A4"/>
              </a:gs>
              <a:gs pos="9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5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5400000" scaled="1"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sz="3192">
              <a:solidFill>
                <a:schemeClr val="bg1"/>
              </a:solidFill>
            </a:endParaRPr>
          </a:p>
        </p:txBody>
      </p:sp>
      <p:sp>
        <p:nvSpPr>
          <p:cNvPr id="69" name="Presentations">
            <a:extLst>
              <a:ext uri="{FF2B5EF4-FFF2-40B4-BE49-F238E27FC236}">
                <a16:creationId xmlns:a16="http://schemas.microsoft.com/office/drawing/2014/main" id="{8567D3E8-E7FE-446F-BA3C-4D93615A58C7}"/>
              </a:ext>
            </a:extLst>
          </p:cNvPr>
          <p:cNvSpPr txBox="1"/>
          <p:nvPr/>
        </p:nvSpPr>
        <p:spPr>
          <a:xfrm>
            <a:off x="3973534" y="2285560"/>
            <a:ext cx="1666188" cy="198438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334" tIns="25334" rIns="25334" bIns="25334" anchor="ctr">
            <a:spAutoFit/>
          </a:bodyPr>
          <a:lstStyle>
            <a:defPPr rtl="0">
              <a:defRPr lang="es-es"/>
            </a:defPPr>
            <a:lvl1pPr algn="ctr" defTabSz="912023">
              <a:defRPr sz="1396" b="1" cap="none" spc="0">
                <a:solidFill>
                  <a:schemeClr val="bg1"/>
                </a:solidFill>
                <a:ea typeface="Verdana" panose="020B0604030504040204" pitchFamily="34" charset="0"/>
                <a:cs typeface="Lato Bold"/>
              </a:defRPr>
            </a:lvl1pPr>
          </a:lstStyle>
          <a:p>
            <a:r>
              <a:rPr lang="es-ES" dirty="0"/>
              <a:t> </a:t>
            </a:r>
            <a:r>
              <a:rPr lang="es-ES" b="0" cap="all" spc="160" dirty="0">
                <a:sym typeface="Lato Bold"/>
              </a:rPr>
              <a:t>Permite un diálogo abierto con el mercado, facilitando que los propios interesados propongan alternativas</a:t>
            </a:r>
          </a:p>
        </p:txBody>
      </p:sp>
      <p:sp>
        <p:nvSpPr>
          <p:cNvPr id="71" name="Line">
            <a:extLst>
              <a:ext uri="{FF2B5EF4-FFF2-40B4-BE49-F238E27FC236}">
                <a16:creationId xmlns:a16="http://schemas.microsoft.com/office/drawing/2014/main" id="{E6688720-EBCF-45DC-A4DB-1DEAF09D5D48}"/>
              </a:ext>
            </a:extLst>
          </p:cNvPr>
          <p:cNvSpPr/>
          <p:nvPr/>
        </p:nvSpPr>
        <p:spPr>
          <a:xfrm rot="5400000">
            <a:off x="6396513" y="2230945"/>
            <a:ext cx="2473321" cy="20936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14" y="21600"/>
                </a:moveTo>
                <a:lnTo>
                  <a:pt x="0" y="21576"/>
                </a:lnTo>
                <a:lnTo>
                  <a:pt x="0" y="0"/>
                </a:lnTo>
                <a:lnTo>
                  <a:pt x="21600" y="0"/>
                </a:lnTo>
                <a:lnTo>
                  <a:pt x="21600" y="21572"/>
                </a:lnTo>
                <a:lnTo>
                  <a:pt x="17530" y="21597"/>
                </a:lnTo>
              </a:path>
            </a:pathLst>
          </a:custGeom>
          <a:gradFill>
            <a:gsLst>
              <a:gs pos="0">
                <a:srgbClr val="5C89A4"/>
              </a:gs>
              <a:gs pos="9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5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5400000" scaled="1"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sz="3192">
              <a:solidFill>
                <a:schemeClr val="bg1"/>
              </a:solidFill>
            </a:endParaRPr>
          </a:p>
        </p:txBody>
      </p:sp>
      <p:sp>
        <p:nvSpPr>
          <p:cNvPr id="72" name="Presentations">
            <a:extLst>
              <a:ext uri="{FF2B5EF4-FFF2-40B4-BE49-F238E27FC236}">
                <a16:creationId xmlns:a16="http://schemas.microsoft.com/office/drawing/2014/main" id="{F15179E4-DEC7-4CD6-8F3E-4767502B57C1}"/>
              </a:ext>
            </a:extLst>
          </p:cNvPr>
          <p:cNvSpPr txBox="1"/>
          <p:nvPr/>
        </p:nvSpPr>
        <p:spPr>
          <a:xfrm>
            <a:off x="6838861" y="2392964"/>
            <a:ext cx="1666188" cy="1769582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334" tIns="25334" rIns="25334" bIns="25334" anchor="ctr">
            <a:spAutoFit/>
          </a:bodyPr>
          <a:lstStyle>
            <a:defPPr rtl="0">
              <a:defRPr lang="es-es"/>
            </a:defPPr>
            <a:lvl1pPr algn="ctr" defTabSz="912023">
              <a:defRPr sz="1396" b="1" cap="none" spc="0">
                <a:solidFill>
                  <a:schemeClr val="bg1"/>
                </a:solidFill>
                <a:ea typeface="Verdana" panose="020B0604030504040204" pitchFamily="34" charset="0"/>
                <a:cs typeface="Lato Bold"/>
              </a:defRPr>
            </a:lvl1pPr>
          </a:lstStyle>
          <a:p>
            <a:r>
              <a:rPr lang="es-ES" b="0" i="1" cap="all" spc="160" dirty="0"/>
              <a:t>INFORMA A LOS OPERADORES ECONÓMICOS SOBRE LOS PROYECTOS Y REQUISITOS DE LAS FUTURAS CONTRATACIONES</a:t>
            </a:r>
            <a:endParaRPr lang="es-ES" b="0" cap="all" spc="160" dirty="0"/>
          </a:p>
        </p:txBody>
      </p:sp>
      <p:sp>
        <p:nvSpPr>
          <p:cNvPr id="74" name="Line">
            <a:extLst>
              <a:ext uri="{FF2B5EF4-FFF2-40B4-BE49-F238E27FC236}">
                <a16:creationId xmlns:a16="http://schemas.microsoft.com/office/drawing/2014/main" id="{D78072E2-6B54-4B57-BCCB-125AE3EC8B0F}"/>
              </a:ext>
            </a:extLst>
          </p:cNvPr>
          <p:cNvSpPr/>
          <p:nvPr/>
        </p:nvSpPr>
        <p:spPr>
          <a:xfrm rot="5400000">
            <a:off x="9211367" y="2252898"/>
            <a:ext cx="2473321" cy="20936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14" y="21600"/>
                </a:moveTo>
                <a:lnTo>
                  <a:pt x="0" y="21576"/>
                </a:lnTo>
                <a:lnTo>
                  <a:pt x="0" y="0"/>
                </a:lnTo>
                <a:lnTo>
                  <a:pt x="21600" y="0"/>
                </a:lnTo>
                <a:lnTo>
                  <a:pt x="21600" y="21572"/>
                </a:lnTo>
                <a:lnTo>
                  <a:pt x="17530" y="21597"/>
                </a:lnTo>
              </a:path>
            </a:pathLst>
          </a:custGeom>
          <a:gradFill>
            <a:gsLst>
              <a:gs pos="0">
                <a:srgbClr val="5C89A4"/>
              </a:gs>
              <a:gs pos="9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5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5400000" scaled="1"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sz="3192">
              <a:solidFill>
                <a:schemeClr val="bg1"/>
              </a:solidFill>
            </a:endParaRPr>
          </a:p>
        </p:txBody>
      </p:sp>
      <p:sp>
        <p:nvSpPr>
          <p:cNvPr id="75" name="Presentations">
            <a:extLst>
              <a:ext uri="{FF2B5EF4-FFF2-40B4-BE49-F238E27FC236}">
                <a16:creationId xmlns:a16="http://schemas.microsoft.com/office/drawing/2014/main" id="{210561D8-D22D-47B2-AB9A-884EBF4C5F62}"/>
              </a:ext>
            </a:extLst>
          </p:cNvPr>
          <p:cNvSpPr txBox="1"/>
          <p:nvPr/>
        </p:nvSpPr>
        <p:spPr>
          <a:xfrm>
            <a:off x="9653715" y="2522319"/>
            <a:ext cx="1764209" cy="1554780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334" tIns="25334" rIns="25334" bIns="25334" anchor="ctr">
            <a:spAutoFit/>
          </a:bodyPr>
          <a:lstStyle>
            <a:lvl1pPr algn="l">
              <a:defRPr sz="3200" cap="all" spc="160">
                <a:latin typeface="Lato Bold"/>
                <a:ea typeface="Lato Bold"/>
                <a:cs typeface="Lato Bold"/>
                <a:sym typeface="Lato Bold"/>
              </a:defRPr>
            </a:lvl1pPr>
          </a:lstStyle>
          <a:p>
            <a:pPr algn="ctr" defTabSz="912023">
              <a:defRPr/>
            </a:pPr>
            <a:r>
              <a:rPr lang="es-ES" sz="1396" dirty="0">
                <a:solidFill>
                  <a:schemeClr val="bg1"/>
                </a:solidFill>
                <a:latin typeface="+mn-lt"/>
                <a:ea typeface="Verdana" panose="020B0604030504040204" pitchFamily="34" charset="0"/>
              </a:rPr>
              <a:t>proporciona la información suficiente para los siguientes pasos, que es el procedimiento de licitación.</a:t>
            </a:r>
          </a:p>
        </p:txBody>
      </p:sp>
      <p:sp>
        <p:nvSpPr>
          <p:cNvPr id="73" name="1">
            <a:extLst>
              <a:ext uri="{FF2B5EF4-FFF2-40B4-BE49-F238E27FC236}">
                <a16:creationId xmlns:a16="http://schemas.microsoft.com/office/drawing/2014/main" id="{7FED8E54-1E45-4C2B-AD7B-1DFED7DED4EC}"/>
              </a:ext>
            </a:extLst>
          </p:cNvPr>
          <p:cNvSpPr txBox="1"/>
          <p:nvPr/>
        </p:nvSpPr>
        <p:spPr>
          <a:xfrm>
            <a:off x="8757547" y="2065265"/>
            <a:ext cx="898641" cy="247906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334" tIns="25334" rIns="25334" bIns="25334" anchor="ctr"/>
          <a:lstStyle>
            <a:lvl1pPr>
              <a:defRPr sz="30000" cap="all">
                <a:latin typeface="Lato Hairline"/>
                <a:ea typeface="Lato Hairline"/>
                <a:cs typeface="Lato Hairline"/>
                <a:sym typeface="Lato Hairline"/>
              </a:defRPr>
            </a:lvl1pPr>
          </a:lstStyle>
          <a:p>
            <a:pPr defTabSz="912023"/>
            <a:r>
              <a:rPr lang="es-ES" sz="12468" dirty="0">
                <a:latin typeface="+mn-lt"/>
              </a:rPr>
              <a:t>4</a:t>
            </a:r>
            <a:endParaRPr sz="12468" dirty="0">
              <a:latin typeface="+mn-lt"/>
            </a:endParaRPr>
          </a:p>
        </p:txBody>
      </p:sp>
      <p:sp>
        <p:nvSpPr>
          <p:cNvPr id="70" name="1">
            <a:extLst>
              <a:ext uri="{FF2B5EF4-FFF2-40B4-BE49-F238E27FC236}">
                <a16:creationId xmlns:a16="http://schemas.microsoft.com/office/drawing/2014/main" id="{98252F99-93E8-4A08-80A1-93EA95FB1426}"/>
              </a:ext>
            </a:extLst>
          </p:cNvPr>
          <p:cNvSpPr txBox="1"/>
          <p:nvPr/>
        </p:nvSpPr>
        <p:spPr>
          <a:xfrm>
            <a:off x="5942692" y="2043313"/>
            <a:ext cx="898641" cy="247906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334" tIns="25334" rIns="25334" bIns="25334" anchor="ctr"/>
          <a:lstStyle>
            <a:lvl1pPr>
              <a:defRPr sz="30000" cap="all">
                <a:latin typeface="Lato Hairline"/>
                <a:ea typeface="Lato Hairline"/>
                <a:cs typeface="Lato Hairline"/>
                <a:sym typeface="Lato Hairline"/>
              </a:defRPr>
            </a:lvl1pPr>
          </a:lstStyle>
          <a:p>
            <a:pPr defTabSz="912023"/>
            <a:r>
              <a:rPr lang="es-ES" sz="12468" dirty="0">
                <a:latin typeface="+mn-lt"/>
              </a:rPr>
              <a:t>3</a:t>
            </a:r>
            <a:endParaRPr sz="12468" dirty="0">
              <a:latin typeface="+mn-lt"/>
            </a:endParaRPr>
          </a:p>
        </p:txBody>
      </p:sp>
      <p:sp>
        <p:nvSpPr>
          <p:cNvPr id="67" name="1">
            <a:extLst>
              <a:ext uri="{FF2B5EF4-FFF2-40B4-BE49-F238E27FC236}">
                <a16:creationId xmlns:a16="http://schemas.microsoft.com/office/drawing/2014/main" id="{5EE23AA9-CEEC-44EB-B5F3-A09855063591}"/>
              </a:ext>
            </a:extLst>
          </p:cNvPr>
          <p:cNvSpPr txBox="1"/>
          <p:nvPr/>
        </p:nvSpPr>
        <p:spPr>
          <a:xfrm>
            <a:off x="3077365" y="2043313"/>
            <a:ext cx="898641" cy="247906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334" tIns="25334" rIns="25334" bIns="25334" anchor="ctr"/>
          <a:lstStyle>
            <a:lvl1pPr>
              <a:defRPr sz="30000" cap="all">
                <a:latin typeface="Lato Hairline"/>
                <a:ea typeface="Lato Hairline"/>
                <a:cs typeface="Lato Hairline"/>
                <a:sym typeface="Lato Hairline"/>
              </a:defRPr>
            </a:lvl1pPr>
          </a:lstStyle>
          <a:p>
            <a:pPr defTabSz="912023"/>
            <a:r>
              <a:rPr lang="es-ES" sz="12468" dirty="0">
                <a:latin typeface="+mn-lt"/>
              </a:rPr>
              <a:t>2</a:t>
            </a:r>
            <a:endParaRPr sz="12468" dirty="0">
              <a:latin typeface="+mn-lt"/>
            </a:endParaRPr>
          </a:p>
        </p:txBody>
      </p:sp>
      <p:sp>
        <p:nvSpPr>
          <p:cNvPr id="64" name="1">
            <a:extLst>
              <a:ext uri="{FF2B5EF4-FFF2-40B4-BE49-F238E27FC236}">
                <a16:creationId xmlns:a16="http://schemas.microsoft.com/office/drawing/2014/main" id="{6857D233-18C5-4C58-AE2A-17788C46B659}"/>
              </a:ext>
            </a:extLst>
          </p:cNvPr>
          <p:cNvSpPr txBox="1"/>
          <p:nvPr/>
        </p:nvSpPr>
        <p:spPr>
          <a:xfrm>
            <a:off x="213188" y="2035350"/>
            <a:ext cx="898641" cy="247906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334" tIns="25334" rIns="25334" bIns="25334" anchor="ctr"/>
          <a:lstStyle>
            <a:lvl1pPr>
              <a:defRPr sz="30000" cap="all">
                <a:latin typeface="Lato Hairline"/>
                <a:ea typeface="Lato Hairline"/>
                <a:cs typeface="Lato Hairline"/>
                <a:sym typeface="Lato Hairline"/>
              </a:defRPr>
            </a:lvl1pPr>
          </a:lstStyle>
          <a:p>
            <a:pPr defTabSz="912023"/>
            <a:r>
              <a:rPr lang="es-ES" sz="12468" dirty="0">
                <a:latin typeface="+mn-lt"/>
              </a:rPr>
              <a:t>1</a:t>
            </a:r>
            <a:endParaRPr sz="12468" dirty="0">
              <a:latin typeface="+mn-lt"/>
            </a:endParaRPr>
          </a:p>
        </p:txBody>
      </p:sp>
      <p:sp>
        <p:nvSpPr>
          <p:cNvPr id="2" name="Google Shape;207;p24">
            <a:extLst>
              <a:ext uri="{FF2B5EF4-FFF2-40B4-BE49-F238E27FC236}">
                <a16:creationId xmlns:a16="http://schemas.microsoft.com/office/drawing/2014/main" id="{47110CE4-3760-E095-A4D2-7F81A74AAD94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3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38925079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458F46E1-BF25-4F33-B5DA-67AF83D4DD03}"/>
              </a:ext>
            </a:extLst>
          </p:cNvPr>
          <p:cNvSpPr/>
          <p:nvPr/>
        </p:nvSpPr>
        <p:spPr>
          <a:xfrm flipV="1">
            <a:off x="338560" y="6077561"/>
            <a:ext cx="596957" cy="7627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972" tIns="53483" rIns="106972" bIns="53483" rtlCol="0" anchor="t"/>
          <a:lstStyle/>
          <a:p>
            <a:pPr defTabSz="912023" eaLnBrk="0" fontAlgn="base" hangingPunct="0">
              <a:spcBef>
                <a:spcPts val="598"/>
              </a:spcBef>
              <a:spcAft>
                <a:spcPct val="0"/>
              </a:spcAft>
              <a:buClr>
                <a:srgbClr val="003A43">
                  <a:lumMod val="90000"/>
                  <a:lumOff val="10000"/>
                </a:srgbClr>
              </a:buClr>
              <a:defRPr/>
            </a:pPr>
            <a:endParaRPr lang="es-ES" sz="1596" dirty="0">
              <a:solidFill>
                <a:srgbClr val="000000"/>
              </a:solidFill>
              <a:latin typeface="Futura PT Book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7DA380F-EAEC-4BE8-BA43-977CAD9EAF52}"/>
              </a:ext>
            </a:extLst>
          </p:cNvPr>
          <p:cNvSpPr txBox="1"/>
          <p:nvPr/>
        </p:nvSpPr>
        <p:spPr>
          <a:xfrm>
            <a:off x="2285771" y="251607"/>
            <a:ext cx="3134191" cy="644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rtl="0">
              <a:defRPr lang="es-es"/>
            </a:defPPr>
            <a:lvl1pPr defTabSz="912023" fontAlgn="base">
              <a:spcBef>
                <a:spcPct val="0"/>
              </a:spcBef>
              <a:spcAft>
                <a:spcPct val="0"/>
              </a:spcAft>
              <a:defRPr sz="359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s-ES" dirty="0"/>
              <a:t>Ciclo de la CPI</a:t>
            </a:r>
          </a:p>
        </p:txBody>
      </p:sp>
      <p:sp>
        <p:nvSpPr>
          <p:cNvPr id="13" name="Google Shape;207;p24">
            <a:extLst>
              <a:ext uri="{FF2B5EF4-FFF2-40B4-BE49-F238E27FC236}">
                <a16:creationId xmlns:a16="http://schemas.microsoft.com/office/drawing/2014/main" id="{E53126F9-5614-4404-9F18-6E4403482DD1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4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29A9724A-C63C-47A4-A92D-AA6FCCA4A6D6}"/>
              </a:ext>
            </a:extLst>
          </p:cNvPr>
          <p:cNvGrpSpPr/>
          <p:nvPr/>
        </p:nvGrpSpPr>
        <p:grpSpPr>
          <a:xfrm>
            <a:off x="3920638" y="2851139"/>
            <a:ext cx="4013487" cy="4077556"/>
            <a:chOff x="4090695" y="2035534"/>
            <a:chExt cx="3137647" cy="3136567"/>
          </a:xfrm>
        </p:grpSpPr>
        <p:sp>
          <p:nvSpPr>
            <p:cNvPr id="14" name="Block Arc 8">
              <a:extLst>
                <a:ext uri="{FF2B5EF4-FFF2-40B4-BE49-F238E27FC236}">
                  <a16:creationId xmlns:a16="http://schemas.microsoft.com/office/drawing/2014/main" id="{C10CA6DD-2776-4C61-B4E0-A61477985D41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4093799" y="2035534"/>
              <a:ext cx="3134543" cy="3134543"/>
            </a:xfrm>
            <a:prstGeom prst="blockArc">
              <a:avLst>
                <a:gd name="adj1" fmla="val 10800000"/>
                <a:gd name="adj2" fmla="val 12960000"/>
                <a:gd name="adj3" fmla="val 15500"/>
              </a:avLst>
            </a:prstGeom>
            <a:solidFill>
              <a:srgbClr val="FFFFFF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endParaRPr lang="es-ES" sz="1795" b="1" kern="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latin typeface="Calibri"/>
                <a:ea typeface="Microsoft YaHei"/>
                <a:sym typeface="Arial"/>
              </a:endParaRPr>
            </a:p>
          </p:txBody>
        </p:sp>
        <p:sp>
          <p:nvSpPr>
            <p:cNvPr id="18" name="Block Arc 9">
              <a:extLst>
                <a:ext uri="{FF2B5EF4-FFF2-40B4-BE49-F238E27FC236}">
                  <a16:creationId xmlns:a16="http://schemas.microsoft.com/office/drawing/2014/main" id="{D89F6F49-AD15-4EA6-B3B6-C979ADCAAAF0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4090695" y="2037558"/>
              <a:ext cx="3134543" cy="3134543"/>
            </a:xfrm>
            <a:prstGeom prst="blockArc">
              <a:avLst>
                <a:gd name="adj1" fmla="val 12960000"/>
                <a:gd name="adj2" fmla="val 15120000"/>
                <a:gd name="adj3" fmla="val 15500"/>
              </a:avLst>
            </a:prstGeom>
            <a:solidFill>
              <a:srgbClr val="FFC000"/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endParaRPr lang="es-ES" sz="1795" b="1" kern="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latin typeface="Calibri"/>
                <a:ea typeface="Microsoft YaHei"/>
                <a:sym typeface="Arial"/>
              </a:endParaRPr>
            </a:p>
          </p:txBody>
        </p:sp>
        <p:sp>
          <p:nvSpPr>
            <p:cNvPr id="19" name="Block Arc 10">
              <a:extLst>
                <a:ext uri="{FF2B5EF4-FFF2-40B4-BE49-F238E27FC236}">
                  <a16:creationId xmlns:a16="http://schemas.microsoft.com/office/drawing/2014/main" id="{955B69AE-8CA7-4BF6-901A-5E6D4016B7A9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4090695" y="2037558"/>
              <a:ext cx="3134543" cy="3134543"/>
            </a:xfrm>
            <a:prstGeom prst="blockArc">
              <a:avLst>
                <a:gd name="adj1" fmla="val 15120000"/>
                <a:gd name="adj2" fmla="val 17280000"/>
                <a:gd name="adj3" fmla="val 15500"/>
              </a:avLst>
            </a:prstGeom>
            <a:solidFill>
              <a:srgbClr val="FFFFFF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endParaRPr lang="es-ES" sz="1795" b="1" kern="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latin typeface="Calibri"/>
                <a:ea typeface="Microsoft YaHei"/>
                <a:sym typeface="Arial"/>
              </a:endParaRPr>
            </a:p>
          </p:txBody>
        </p:sp>
        <p:sp>
          <p:nvSpPr>
            <p:cNvPr id="20" name="Block Arc 11">
              <a:extLst>
                <a:ext uri="{FF2B5EF4-FFF2-40B4-BE49-F238E27FC236}">
                  <a16:creationId xmlns:a16="http://schemas.microsoft.com/office/drawing/2014/main" id="{D44CE5FD-325B-403F-A988-F3FFF5D7608F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4090695" y="2037558"/>
              <a:ext cx="3134543" cy="3134543"/>
            </a:xfrm>
            <a:prstGeom prst="blockArc">
              <a:avLst>
                <a:gd name="adj1" fmla="val 17280000"/>
                <a:gd name="adj2" fmla="val 19440000"/>
                <a:gd name="adj3" fmla="val 15500"/>
              </a:avLst>
            </a:prstGeom>
            <a:solidFill>
              <a:srgbClr val="FFFFFF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endParaRPr lang="es-ES" sz="1795" b="1" kern="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latin typeface="Calibri"/>
                <a:ea typeface="Microsoft YaHei"/>
                <a:sym typeface="Arial"/>
              </a:endParaRPr>
            </a:p>
          </p:txBody>
        </p:sp>
        <p:sp>
          <p:nvSpPr>
            <p:cNvPr id="25" name="Block Arc 12">
              <a:extLst>
                <a:ext uri="{FF2B5EF4-FFF2-40B4-BE49-F238E27FC236}">
                  <a16:creationId xmlns:a16="http://schemas.microsoft.com/office/drawing/2014/main" id="{60A0C2FE-5C07-45FB-80E3-7EA53BEF9B79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4090695" y="2037558"/>
              <a:ext cx="3134543" cy="3134543"/>
            </a:xfrm>
            <a:prstGeom prst="blockArc">
              <a:avLst>
                <a:gd name="adj1" fmla="val 19440000"/>
                <a:gd name="adj2" fmla="val 0"/>
                <a:gd name="adj3" fmla="val 15500"/>
              </a:avLst>
            </a:prstGeom>
            <a:solidFill>
              <a:srgbClr val="FFFFFF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endParaRPr lang="es-ES" sz="1795" b="1" kern="0" dirty="0"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latin typeface="Calibri"/>
                <a:ea typeface="Microsoft YaHei"/>
                <a:sym typeface="Arial"/>
              </a:endParaRPr>
            </a:p>
          </p:txBody>
        </p:sp>
        <p:sp>
          <p:nvSpPr>
            <p:cNvPr id="26" name="Block Arc 19">
              <a:extLst>
                <a:ext uri="{FF2B5EF4-FFF2-40B4-BE49-F238E27FC236}">
                  <a16:creationId xmlns:a16="http://schemas.microsoft.com/office/drawing/2014/main" id="{91FC8FF6-37D2-4BE9-AC02-111B1719628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4587499" y="2534362"/>
              <a:ext cx="2140935" cy="2140935"/>
            </a:xfrm>
            <a:prstGeom prst="blockArc">
              <a:avLst>
                <a:gd name="adj1" fmla="val 10800000"/>
                <a:gd name="adj2" fmla="val 12960000"/>
                <a:gd name="adj3" fmla="val 23000"/>
              </a:avLst>
            </a:prstGeom>
            <a:solidFill>
              <a:srgbClr val="FFFFFF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r>
                <a:rPr lang="es-ES" sz="2394" b="1" kern="0" dirty="0"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latin typeface="Calibri"/>
                  <a:ea typeface="Microsoft YaHei"/>
                  <a:sym typeface="Arial"/>
                </a:rPr>
                <a:t>1</a:t>
              </a:r>
            </a:p>
          </p:txBody>
        </p:sp>
        <p:sp>
          <p:nvSpPr>
            <p:cNvPr id="27" name="Block Arc 20">
              <a:extLst>
                <a:ext uri="{FF2B5EF4-FFF2-40B4-BE49-F238E27FC236}">
                  <a16:creationId xmlns:a16="http://schemas.microsoft.com/office/drawing/2014/main" id="{CBA30C26-3EA3-43E8-B9C7-E76D2AFBBCC0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587499" y="2534362"/>
              <a:ext cx="2140935" cy="2140935"/>
            </a:xfrm>
            <a:prstGeom prst="blockArc">
              <a:avLst>
                <a:gd name="adj1" fmla="val 12960000"/>
                <a:gd name="adj2" fmla="val 15120000"/>
                <a:gd name="adj3" fmla="val 23000"/>
              </a:avLst>
            </a:prstGeom>
            <a:solidFill>
              <a:srgbClr val="FFC000"/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r>
                <a:rPr lang="es-ES" sz="2394" b="1" kern="0" dirty="0">
                  <a:effectLst>
                    <a:glow>
                      <a:scrgbClr r="0" g="0" b="0"/>
                    </a:glow>
                  </a:effectLst>
                  <a:latin typeface="Calibri"/>
                  <a:ea typeface="Microsoft YaHei"/>
                  <a:sym typeface="Arial"/>
                </a:rPr>
                <a:t>2</a:t>
              </a:r>
            </a:p>
          </p:txBody>
        </p:sp>
        <p:sp>
          <p:nvSpPr>
            <p:cNvPr id="28" name="Block Arc 21">
              <a:extLst>
                <a:ext uri="{FF2B5EF4-FFF2-40B4-BE49-F238E27FC236}">
                  <a16:creationId xmlns:a16="http://schemas.microsoft.com/office/drawing/2014/main" id="{A421E1B8-FEF0-412E-A143-6019F4194F18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587499" y="2534362"/>
              <a:ext cx="2140935" cy="2140935"/>
            </a:xfrm>
            <a:prstGeom prst="blockArc">
              <a:avLst>
                <a:gd name="adj1" fmla="val 15120000"/>
                <a:gd name="adj2" fmla="val 17280000"/>
                <a:gd name="adj3" fmla="val 23000"/>
              </a:avLst>
            </a:prstGeom>
            <a:solidFill>
              <a:srgbClr val="FFFFFF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r>
                <a:rPr lang="es-ES" sz="2394" b="1" kern="0" dirty="0"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latin typeface="Calibri"/>
                  <a:ea typeface="Microsoft YaHei"/>
                  <a:sym typeface="Arial"/>
                </a:rPr>
                <a:t>3</a:t>
              </a:r>
            </a:p>
          </p:txBody>
        </p:sp>
        <p:sp>
          <p:nvSpPr>
            <p:cNvPr id="29" name="Block Arc 22">
              <a:extLst>
                <a:ext uri="{FF2B5EF4-FFF2-40B4-BE49-F238E27FC236}">
                  <a16:creationId xmlns:a16="http://schemas.microsoft.com/office/drawing/2014/main" id="{718E8CBE-3A35-4E06-B3BB-7AFCA3244E3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587499" y="2534362"/>
              <a:ext cx="2140935" cy="2140935"/>
            </a:xfrm>
            <a:prstGeom prst="blockArc">
              <a:avLst>
                <a:gd name="adj1" fmla="val 17280000"/>
                <a:gd name="adj2" fmla="val 19440000"/>
                <a:gd name="adj3" fmla="val 23000"/>
              </a:avLst>
            </a:prstGeom>
            <a:solidFill>
              <a:srgbClr val="FFFFFF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r>
                <a:rPr lang="es-ES" sz="2394" b="1" kern="0" dirty="0"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latin typeface="Calibri"/>
                  <a:ea typeface="Microsoft YaHei"/>
                  <a:sym typeface="Arial"/>
                </a:rPr>
                <a:t>4</a:t>
              </a:r>
            </a:p>
          </p:txBody>
        </p:sp>
        <p:sp>
          <p:nvSpPr>
            <p:cNvPr id="30" name="Block Arc 23">
              <a:extLst>
                <a:ext uri="{FF2B5EF4-FFF2-40B4-BE49-F238E27FC236}">
                  <a16:creationId xmlns:a16="http://schemas.microsoft.com/office/drawing/2014/main" id="{C211BC9B-1862-48A5-A007-693837726266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587499" y="2534362"/>
              <a:ext cx="2140935" cy="2140935"/>
            </a:xfrm>
            <a:prstGeom prst="blockArc">
              <a:avLst>
                <a:gd name="adj1" fmla="val 19440000"/>
                <a:gd name="adj2" fmla="val 0"/>
                <a:gd name="adj3" fmla="val 23000"/>
              </a:avLst>
            </a:prstGeom>
            <a:solidFill>
              <a:srgbClr val="FFFFFF">
                <a:lumMod val="50000"/>
              </a:srgbClr>
            </a:solidFill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r>
                <a:rPr lang="es-ES" sz="2394" b="1" kern="0" dirty="0"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latin typeface="Calibri"/>
                  <a:ea typeface="Microsoft YaHei"/>
                  <a:sym typeface="Arial"/>
                </a:rPr>
                <a:t>5</a:t>
              </a:r>
            </a:p>
          </p:txBody>
        </p:sp>
        <p:sp>
          <p:nvSpPr>
            <p:cNvPr id="31" name="Rectangle 24">
              <a:extLst>
                <a:ext uri="{FF2B5EF4-FFF2-40B4-BE49-F238E27FC236}">
                  <a16:creationId xmlns:a16="http://schemas.microsoft.com/office/drawing/2014/main" id="{5C718797-20A2-498E-A618-694AC0CA013D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5080523" y="3341942"/>
              <a:ext cx="1154886" cy="2493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txBody>
            <a:bodyPr rtlCol="0" anchor="ctr" anchorCtr="1">
              <a:sp3d/>
            </a:bodyPr>
            <a:lstStyle/>
            <a:p>
              <a:pPr algn="ctr" defTabSz="912023">
                <a:defRPr/>
              </a:pPr>
              <a:r>
                <a:rPr lang="es-ES" sz="1400" b="1" kern="0" dirty="0">
                  <a:solidFill>
                    <a:srgbClr val="002060"/>
                  </a:solidFill>
                  <a:effectLst>
                    <a:glow>
                      <a:scrgbClr r="0" g="0" b="0"/>
                    </a:glow>
                  </a:effectLst>
                  <a:latin typeface="Montserrat" panose="00000500000000000000" pitchFamily="2" charset="0"/>
                  <a:ea typeface="Microsoft YaHei"/>
                  <a:sym typeface="Arial"/>
                </a:rPr>
                <a:t>Compra Pública de Innovación</a:t>
              </a:r>
            </a:p>
          </p:txBody>
        </p:sp>
        <p:grpSp>
          <p:nvGrpSpPr>
            <p:cNvPr id="32" name="Gavel">
              <a:extLst>
                <a:ext uri="{FF2B5EF4-FFF2-40B4-BE49-F238E27FC236}">
                  <a16:creationId xmlns:a16="http://schemas.microsoft.com/office/drawing/2014/main" id="{EE4C72DA-FAD1-48AC-BB11-B3DD445C203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6297994" y="2420408"/>
              <a:ext cx="311543" cy="252135"/>
              <a:chOff x="-1958181" y="55563"/>
              <a:chExt cx="715963" cy="579438"/>
            </a:xfrm>
            <a:solidFill>
              <a:srgbClr val="FFFFFF"/>
            </a:solidFill>
          </p:grpSpPr>
          <p:sp>
            <p:nvSpPr>
              <p:cNvPr id="51" name="Gavel">
                <a:extLst>
                  <a:ext uri="{FF2B5EF4-FFF2-40B4-BE49-F238E27FC236}">
                    <a16:creationId xmlns:a16="http://schemas.microsoft.com/office/drawing/2014/main" id="{C9608165-96DE-4ECD-83C6-99427D5EDBD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-1532731" y="560388"/>
                <a:ext cx="209550" cy="7461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52" name="Gavel">
                <a:extLst>
                  <a:ext uri="{FF2B5EF4-FFF2-40B4-BE49-F238E27FC236}">
                    <a16:creationId xmlns:a16="http://schemas.microsoft.com/office/drawing/2014/main" id="{0FCBB50A-93F7-49C9-B960-74AC47A053A2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-1643856" y="604838"/>
                <a:ext cx="401638" cy="301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53" name="Gavel">
                <a:extLst>
                  <a:ext uri="{FF2B5EF4-FFF2-40B4-BE49-F238E27FC236}">
                    <a16:creationId xmlns:a16="http://schemas.microsoft.com/office/drawing/2014/main" id="{34A6986E-0089-4D0C-8E9D-79691A7BC7DB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-1593056" y="176213"/>
                <a:ext cx="152400" cy="161925"/>
              </a:xfrm>
              <a:custGeom>
                <a:avLst/>
                <a:gdLst>
                  <a:gd name="T0" fmla="*/ 222 w 257"/>
                  <a:gd name="T1" fmla="*/ 90 h 270"/>
                  <a:gd name="T2" fmla="*/ 156 w 257"/>
                  <a:gd name="T3" fmla="*/ 0 h 270"/>
                  <a:gd name="T4" fmla="*/ 0 w 257"/>
                  <a:gd name="T5" fmla="*/ 86 h 270"/>
                  <a:gd name="T6" fmla="*/ 39 w 257"/>
                  <a:gd name="T7" fmla="*/ 192 h 270"/>
                  <a:gd name="T8" fmla="*/ 94 w 257"/>
                  <a:gd name="T9" fmla="*/ 270 h 270"/>
                  <a:gd name="T10" fmla="*/ 257 w 257"/>
                  <a:gd name="T11" fmla="*/ 180 h 270"/>
                  <a:gd name="T12" fmla="*/ 222 w 257"/>
                  <a:gd name="T13" fmla="*/ 9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7" h="270">
                    <a:moveTo>
                      <a:pt x="222" y="90"/>
                    </a:moveTo>
                    <a:cubicBezTo>
                      <a:pt x="203" y="54"/>
                      <a:pt x="180" y="23"/>
                      <a:pt x="156" y="0"/>
                    </a:cubicBezTo>
                    <a:lnTo>
                      <a:pt x="0" y="86"/>
                    </a:lnTo>
                    <a:cubicBezTo>
                      <a:pt x="7" y="119"/>
                      <a:pt x="20" y="156"/>
                      <a:pt x="39" y="192"/>
                    </a:cubicBezTo>
                    <a:cubicBezTo>
                      <a:pt x="55" y="222"/>
                      <a:pt x="74" y="249"/>
                      <a:pt x="94" y="270"/>
                    </a:cubicBezTo>
                    <a:lnTo>
                      <a:pt x="257" y="180"/>
                    </a:lnTo>
                    <a:cubicBezTo>
                      <a:pt x="250" y="151"/>
                      <a:pt x="238" y="121"/>
                      <a:pt x="222" y="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54" name="Gavel">
                <a:extLst>
                  <a:ext uri="{FF2B5EF4-FFF2-40B4-BE49-F238E27FC236}">
                    <a16:creationId xmlns:a16="http://schemas.microsoft.com/office/drawing/2014/main" id="{0214F7D5-4077-467F-B09A-DB31D4C9A33E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-1575594" y="273050"/>
                <a:ext cx="231775" cy="184150"/>
              </a:xfrm>
              <a:custGeom>
                <a:avLst/>
                <a:gdLst>
                  <a:gd name="T0" fmla="*/ 376 w 388"/>
                  <a:gd name="T1" fmla="*/ 96 h 309"/>
                  <a:gd name="T2" fmla="*/ 341 w 388"/>
                  <a:gd name="T3" fmla="*/ 31 h 309"/>
                  <a:gd name="T4" fmla="*/ 278 w 388"/>
                  <a:gd name="T5" fmla="*/ 12 h 309"/>
                  <a:gd name="T6" fmla="*/ 31 w 388"/>
                  <a:gd name="T7" fmla="*/ 149 h 309"/>
                  <a:gd name="T8" fmla="*/ 12 w 388"/>
                  <a:gd name="T9" fmla="*/ 213 h 309"/>
                  <a:gd name="T10" fmla="*/ 47 w 388"/>
                  <a:gd name="T11" fmla="*/ 278 h 309"/>
                  <a:gd name="T12" fmla="*/ 110 w 388"/>
                  <a:gd name="T13" fmla="*/ 297 h 309"/>
                  <a:gd name="T14" fmla="*/ 357 w 388"/>
                  <a:gd name="T15" fmla="*/ 160 h 309"/>
                  <a:gd name="T16" fmla="*/ 376 w 388"/>
                  <a:gd name="T17" fmla="*/ 96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8" h="309">
                    <a:moveTo>
                      <a:pt x="376" y="96"/>
                    </a:moveTo>
                    <a:lnTo>
                      <a:pt x="341" y="31"/>
                    </a:lnTo>
                    <a:cubicBezTo>
                      <a:pt x="328" y="8"/>
                      <a:pt x="300" y="0"/>
                      <a:pt x="278" y="12"/>
                    </a:cubicBezTo>
                    <a:lnTo>
                      <a:pt x="31" y="149"/>
                    </a:lnTo>
                    <a:cubicBezTo>
                      <a:pt x="8" y="161"/>
                      <a:pt x="0" y="190"/>
                      <a:pt x="12" y="213"/>
                    </a:cubicBezTo>
                    <a:lnTo>
                      <a:pt x="47" y="278"/>
                    </a:lnTo>
                    <a:cubicBezTo>
                      <a:pt x="60" y="301"/>
                      <a:pt x="88" y="309"/>
                      <a:pt x="110" y="297"/>
                    </a:cubicBezTo>
                    <a:lnTo>
                      <a:pt x="357" y="160"/>
                    </a:lnTo>
                    <a:cubicBezTo>
                      <a:pt x="380" y="148"/>
                      <a:pt x="388" y="119"/>
                      <a:pt x="376" y="9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55" name="Gavel">
                <a:extLst>
                  <a:ext uri="{FF2B5EF4-FFF2-40B4-BE49-F238E27FC236}">
                    <a16:creationId xmlns:a16="http://schemas.microsoft.com/office/drawing/2014/main" id="{0D925A26-1BCB-42DA-9FC0-C88B8D500245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-1958181" y="268288"/>
                <a:ext cx="396875" cy="231775"/>
              </a:xfrm>
              <a:custGeom>
                <a:avLst/>
                <a:gdLst>
                  <a:gd name="T0" fmla="*/ 11 w 666"/>
                  <a:gd name="T1" fmla="*/ 361 h 388"/>
                  <a:gd name="T2" fmla="*/ 56 w 666"/>
                  <a:gd name="T3" fmla="*/ 381 h 388"/>
                  <a:gd name="T4" fmla="*/ 648 w 666"/>
                  <a:gd name="T5" fmla="*/ 75 h 388"/>
                  <a:gd name="T6" fmla="*/ 655 w 666"/>
                  <a:gd name="T7" fmla="*/ 29 h 388"/>
                  <a:gd name="T8" fmla="*/ 654 w 666"/>
                  <a:gd name="T9" fmla="*/ 27 h 388"/>
                  <a:gd name="T10" fmla="*/ 609 w 666"/>
                  <a:gd name="T11" fmla="*/ 8 h 388"/>
                  <a:gd name="T12" fmla="*/ 17 w 666"/>
                  <a:gd name="T13" fmla="*/ 313 h 388"/>
                  <a:gd name="T14" fmla="*/ 10 w 666"/>
                  <a:gd name="T15" fmla="*/ 360 h 388"/>
                  <a:gd name="T16" fmla="*/ 11 w 666"/>
                  <a:gd name="T17" fmla="*/ 361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66" h="388">
                    <a:moveTo>
                      <a:pt x="11" y="361"/>
                    </a:moveTo>
                    <a:cubicBezTo>
                      <a:pt x="21" y="379"/>
                      <a:pt x="42" y="388"/>
                      <a:pt x="56" y="381"/>
                    </a:cubicBezTo>
                    <a:lnTo>
                      <a:pt x="648" y="75"/>
                    </a:lnTo>
                    <a:cubicBezTo>
                      <a:pt x="663" y="68"/>
                      <a:pt x="666" y="47"/>
                      <a:pt x="655" y="29"/>
                    </a:cubicBezTo>
                    <a:lnTo>
                      <a:pt x="654" y="27"/>
                    </a:lnTo>
                    <a:cubicBezTo>
                      <a:pt x="644" y="9"/>
                      <a:pt x="624" y="0"/>
                      <a:pt x="609" y="8"/>
                    </a:cubicBezTo>
                    <a:lnTo>
                      <a:pt x="17" y="313"/>
                    </a:lnTo>
                    <a:cubicBezTo>
                      <a:pt x="3" y="320"/>
                      <a:pt x="0" y="341"/>
                      <a:pt x="10" y="360"/>
                    </a:cubicBezTo>
                    <a:lnTo>
                      <a:pt x="11" y="36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56" name="Gavel">
                <a:extLst>
                  <a:ext uri="{FF2B5EF4-FFF2-40B4-BE49-F238E27FC236}">
                    <a16:creationId xmlns:a16="http://schemas.microsoft.com/office/drawing/2014/main" id="{F9D7BB56-1CAA-4FC9-9D75-9DBEDC395F6E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-1696244" y="55563"/>
                <a:ext cx="231775" cy="185738"/>
              </a:xfrm>
              <a:custGeom>
                <a:avLst/>
                <a:gdLst>
                  <a:gd name="T0" fmla="*/ 12 w 388"/>
                  <a:gd name="T1" fmla="*/ 213 h 310"/>
                  <a:gd name="T2" fmla="*/ 30 w 388"/>
                  <a:gd name="T3" fmla="*/ 150 h 310"/>
                  <a:gd name="T4" fmla="*/ 277 w 388"/>
                  <a:gd name="T5" fmla="*/ 13 h 310"/>
                  <a:gd name="T6" fmla="*/ 340 w 388"/>
                  <a:gd name="T7" fmla="*/ 31 h 310"/>
                  <a:gd name="T8" fmla="*/ 375 w 388"/>
                  <a:gd name="T9" fmla="*/ 97 h 310"/>
                  <a:gd name="T10" fmla="*/ 357 w 388"/>
                  <a:gd name="T11" fmla="*/ 161 h 310"/>
                  <a:gd name="T12" fmla="*/ 110 w 388"/>
                  <a:gd name="T13" fmla="*/ 298 h 310"/>
                  <a:gd name="T14" fmla="*/ 47 w 388"/>
                  <a:gd name="T15" fmla="*/ 279 h 310"/>
                  <a:gd name="T16" fmla="*/ 12 w 388"/>
                  <a:gd name="T17" fmla="*/ 213 h 3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8" h="310">
                    <a:moveTo>
                      <a:pt x="12" y="213"/>
                    </a:moveTo>
                    <a:cubicBezTo>
                      <a:pt x="0" y="191"/>
                      <a:pt x="8" y="162"/>
                      <a:pt x="30" y="150"/>
                    </a:cubicBezTo>
                    <a:lnTo>
                      <a:pt x="277" y="13"/>
                    </a:lnTo>
                    <a:cubicBezTo>
                      <a:pt x="300" y="0"/>
                      <a:pt x="328" y="9"/>
                      <a:pt x="340" y="31"/>
                    </a:cubicBezTo>
                    <a:lnTo>
                      <a:pt x="375" y="97"/>
                    </a:lnTo>
                    <a:cubicBezTo>
                      <a:pt x="388" y="120"/>
                      <a:pt x="379" y="148"/>
                      <a:pt x="357" y="161"/>
                    </a:cubicBezTo>
                    <a:lnTo>
                      <a:pt x="110" y="298"/>
                    </a:lnTo>
                    <a:cubicBezTo>
                      <a:pt x="87" y="310"/>
                      <a:pt x="59" y="302"/>
                      <a:pt x="47" y="279"/>
                    </a:cubicBezTo>
                    <a:lnTo>
                      <a:pt x="12" y="21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</p:grpSp>
        <p:grpSp>
          <p:nvGrpSpPr>
            <p:cNvPr id="33" name="Gear">
              <a:extLst>
                <a:ext uri="{FF2B5EF4-FFF2-40B4-BE49-F238E27FC236}">
                  <a16:creationId xmlns:a16="http://schemas.microsoft.com/office/drawing/2014/main" id="{E0BB2E1C-2547-4B30-AA46-143E30883475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777980" y="3024644"/>
              <a:ext cx="276769" cy="277348"/>
              <a:chOff x="8" y="8"/>
              <a:chExt cx="477" cy="478"/>
            </a:xfrm>
            <a:solidFill>
              <a:srgbClr val="FFFFFF"/>
            </a:solidFill>
          </p:grpSpPr>
          <p:sp>
            <p:nvSpPr>
              <p:cNvPr id="49" name="Gear">
                <a:extLst>
                  <a:ext uri="{FF2B5EF4-FFF2-40B4-BE49-F238E27FC236}">
                    <a16:creationId xmlns:a16="http://schemas.microsoft.com/office/drawing/2014/main" id="{7FC81464-D7F5-4159-8604-27531AB0D60D}"/>
                  </a:ext>
                </a:extLst>
              </p:cNvPr>
              <p:cNvSpPr>
                <a:spLocks noEditPoint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8" y="8"/>
                <a:ext cx="477" cy="478"/>
              </a:xfrm>
              <a:custGeom>
                <a:avLst/>
                <a:gdLst>
                  <a:gd name="T0" fmla="*/ 1103 w 1223"/>
                  <a:gd name="T1" fmla="*/ 249 h 1223"/>
                  <a:gd name="T2" fmla="*/ 973 w 1223"/>
                  <a:gd name="T3" fmla="*/ 119 h 1223"/>
                  <a:gd name="T4" fmla="*/ 853 w 1223"/>
                  <a:gd name="T5" fmla="*/ 220 h 1223"/>
                  <a:gd name="T6" fmla="*/ 745 w 1223"/>
                  <a:gd name="T7" fmla="*/ 171 h 1223"/>
                  <a:gd name="T8" fmla="*/ 708 w 1223"/>
                  <a:gd name="T9" fmla="*/ 8 h 1223"/>
                  <a:gd name="T10" fmla="*/ 611 w 1223"/>
                  <a:gd name="T11" fmla="*/ 0 h 1223"/>
                  <a:gd name="T12" fmla="*/ 524 w 1223"/>
                  <a:gd name="T13" fmla="*/ 6 h 1223"/>
                  <a:gd name="T14" fmla="*/ 484 w 1223"/>
                  <a:gd name="T15" fmla="*/ 170 h 1223"/>
                  <a:gd name="T16" fmla="*/ 417 w 1223"/>
                  <a:gd name="T17" fmla="*/ 195 h 1223"/>
                  <a:gd name="T18" fmla="*/ 250 w 1223"/>
                  <a:gd name="T19" fmla="*/ 121 h 1223"/>
                  <a:gd name="T20" fmla="*/ 220 w 1223"/>
                  <a:gd name="T21" fmla="*/ 141 h 1223"/>
                  <a:gd name="T22" fmla="*/ 120 w 1223"/>
                  <a:gd name="T23" fmla="*/ 249 h 1223"/>
                  <a:gd name="T24" fmla="*/ 220 w 1223"/>
                  <a:gd name="T25" fmla="*/ 370 h 1223"/>
                  <a:gd name="T26" fmla="*/ 172 w 1223"/>
                  <a:gd name="T27" fmla="*/ 478 h 1223"/>
                  <a:gd name="T28" fmla="*/ 165 w 1223"/>
                  <a:gd name="T29" fmla="*/ 505 h 1223"/>
                  <a:gd name="T30" fmla="*/ 0 w 1223"/>
                  <a:gd name="T31" fmla="*/ 594 h 1223"/>
                  <a:gd name="T32" fmla="*/ 165 w 1223"/>
                  <a:gd name="T33" fmla="*/ 717 h 1223"/>
                  <a:gd name="T34" fmla="*/ 195 w 1223"/>
                  <a:gd name="T35" fmla="*/ 806 h 1223"/>
                  <a:gd name="T36" fmla="*/ 125 w 1223"/>
                  <a:gd name="T37" fmla="*/ 978 h 1223"/>
                  <a:gd name="T38" fmla="*/ 255 w 1223"/>
                  <a:gd name="T39" fmla="*/ 1106 h 1223"/>
                  <a:gd name="T40" fmla="*/ 375 w 1223"/>
                  <a:gd name="T41" fmla="*/ 1005 h 1223"/>
                  <a:gd name="T42" fmla="*/ 484 w 1223"/>
                  <a:gd name="T43" fmla="*/ 1053 h 1223"/>
                  <a:gd name="T44" fmla="*/ 524 w 1223"/>
                  <a:gd name="T45" fmla="*/ 1216 h 1223"/>
                  <a:gd name="T46" fmla="*/ 629 w 1223"/>
                  <a:gd name="T47" fmla="*/ 1223 h 1223"/>
                  <a:gd name="T48" fmla="*/ 723 w 1223"/>
                  <a:gd name="T49" fmla="*/ 1056 h 1223"/>
                  <a:gd name="T50" fmla="*/ 806 w 1223"/>
                  <a:gd name="T51" fmla="*/ 1028 h 1223"/>
                  <a:gd name="T52" fmla="*/ 859 w 1223"/>
                  <a:gd name="T53" fmla="*/ 1001 h 1223"/>
                  <a:gd name="T54" fmla="*/ 1003 w 1223"/>
                  <a:gd name="T55" fmla="*/ 1084 h 1223"/>
                  <a:gd name="T56" fmla="*/ 1107 w 1223"/>
                  <a:gd name="T57" fmla="*/ 969 h 1223"/>
                  <a:gd name="T58" fmla="*/ 1006 w 1223"/>
                  <a:gd name="T59" fmla="*/ 846 h 1223"/>
                  <a:gd name="T60" fmla="*/ 1051 w 1223"/>
                  <a:gd name="T61" fmla="*/ 746 h 1223"/>
                  <a:gd name="T62" fmla="*/ 1059 w 1223"/>
                  <a:gd name="T63" fmla="*/ 719 h 1223"/>
                  <a:gd name="T64" fmla="*/ 1223 w 1223"/>
                  <a:gd name="T65" fmla="*/ 630 h 1223"/>
                  <a:gd name="T66" fmla="*/ 1223 w 1223"/>
                  <a:gd name="T67" fmla="*/ 593 h 1223"/>
                  <a:gd name="T68" fmla="*/ 1059 w 1223"/>
                  <a:gd name="T69" fmla="*/ 504 h 1223"/>
                  <a:gd name="T70" fmla="*/ 1029 w 1223"/>
                  <a:gd name="T71" fmla="*/ 418 h 1223"/>
                  <a:gd name="T72" fmla="*/ 615 w 1223"/>
                  <a:gd name="T73" fmla="*/ 385 h 1223"/>
                  <a:gd name="T74" fmla="*/ 839 w 1223"/>
                  <a:gd name="T75" fmla="*/ 609 h 1223"/>
                  <a:gd name="T76" fmla="*/ 615 w 1223"/>
                  <a:gd name="T77" fmla="*/ 833 h 1223"/>
                  <a:gd name="T78" fmla="*/ 390 w 1223"/>
                  <a:gd name="T79" fmla="*/ 609 h 1223"/>
                  <a:gd name="T80" fmla="*/ 615 w 1223"/>
                  <a:gd name="T81" fmla="*/ 385 h 1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23" h="1223">
                    <a:moveTo>
                      <a:pt x="1004" y="373"/>
                    </a:moveTo>
                    <a:cubicBezTo>
                      <a:pt x="1036" y="331"/>
                      <a:pt x="1070" y="291"/>
                      <a:pt x="1103" y="249"/>
                    </a:cubicBezTo>
                    <a:lnTo>
                      <a:pt x="1104" y="247"/>
                    </a:lnTo>
                    <a:cubicBezTo>
                      <a:pt x="1068" y="199"/>
                      <a:pt x="1024" y="156"/>
                      <a:pt x="973" y="119"/>
                    </a:cubicBezTo>
                    <a:lnTo>
                      <a:pt x="973" y="120"/>
                    </a:lnTo>
                    <a:cubicBezTo>
                      <a:pt x="931" y="153"/>
                      <a:pt x="891" y="186"/>
                      <a:pt x="853" y="220"/>
                    </a:cubicBezTo>
                    <a:cubicBezTo>
                      <a:pt x="836" y="210"/>
                      <a:pt x="821" y="201"/>
                      <a:pt x="805" y="195"/>
                    </a:cubicBezTo>
                    <a:cubicBezTo>
                      <a:pt x="786" y="185"/>
                      <a:pt x="766" y="178"/>
                      <a:pt x="745" y="171"/>
                    </a:cubicBezTo>
                    <a:cubicBezTo>
                      <a:pt x="737" y="169"/>
                      <a:pt x="730" y="168"/>
                      <a:pt x="722" y="165"/>
                    </a:cubicBezTo>
                    <a:cubicBezTo>
                      <a:pt x="719" y="113"/>
                      <a:pt x="713" y="60"/>
                      <a:pt x="708" y="8"/>
                    </a:cubicBezTo>
                    <a:cubicBezTo>
                      <a:pt x="683" y="4"/>
                      <a:pt x="656" y="1"/>
                      <a:pt x="631" y="0"/>
                    </a:cubicBezTo>
                    <a:lnTo>
                      <a:pt x="611" y="0"/>
                    </a:lnTo>
                    <a:lnTo>
                      <a:pt x="591" y="0"/>
                    </a:lnTo>
                    <a:cubicBezTo>
                      <a:pt x="569" y="1"/>
                      <a:pt x="546" y="3"/>
                      <a:pt x="524" y="6"/>
                    </a:cubicBezTo>
                    <a:lnTo>
                      <a:pt x="509" y="164"/>
                    </a:lnTo>
                    <a:cubicBezTo>
                      <a:pt x="500" y="165"/>
                      <a:pt x="491" y="168"/>
                      <a:pt x="484" y="170"/>
                    </a:cubicBezTo>
                    <a:cubicBezTo>
                      <a:pt x="481" y="170"/>
                      <a:pt x="479" y="171"/>
                      <a:pt x="476" y="171"/>
                    </a:cubicBezTo>
                    <a:cubicBezTo>
                      <a:pt x="456" y="178"/>
                      <a:pt x="436" y="185"/>
                      <a:pt x="417" y="195"/>
                    </a:cubicBezTo>
                    <a:cubicBezTo>
                      <a:pt x="401" y="201"/>
                      <a:pt x="386" y="210"/>
                      <a:pt x="371" y="220"/>
                    </a:cubicBezTo>
                    <a:cubicBezTo>
                      <a:pt x="331" y="186"/>
                      <a:pt x="291" y="154"/>
                      <a:pt x="250" y="121"/>
                    </a:cubicBezTo>
                    <a:lnTo>
                      <a:pt x="247" y="119"/>
                    </a:lnTo>
                    <a:cubicBezTo>
                      <a:pt x="239" y="126"/>
                      <a:pt x="229" y="134"/>
                      <a:pt x="220" y="141"/>
                    </a:cubicBezTo>
                    <a:cubicBezTo>
                      <a:pt x="205" y="154"/>
                      <a:pt x="191" y="166"/>
                      <a:pt x="177" y="181"/>
                    </a:cubicBezTo>
                    <a:cubicBezTo>
                      <a:pt x="156" y="201"/>
                      <a:pt x="137" y="225"/>
                      <a:pt x="120" y="249"/>
                    </a:cubicBezTo>
                    <a:cubicBezTo>
                      <a:pt x="120" y="250"/>
                      <a:pt x="120" y="250"/>
                      <a:pt x="121" y="250"/>
                    </a:cubicBezTo>
                    <a:cubicBezTo>
                      <a:pt x="154" y="291"/>
                      <a:pt x="186" y="331"/>
                      <a:pt x="220" y="370"/>
                    </a:cubicBezTo>
                    <a:cubicBezTo>
                      <a:pt x="211" y="385"/>
                      <a:pt x="202" y="401"/>
                      <a:pt x="195" y="416"/>
                    </a:cubicBezTo>
                    <a:cubicBezTo>
                      <a:pt x="186" y="436"/>
                      <a:pt x="177" y="456"/>
                      <a:pt x="172" y="478"/>
                    </a:cubicBezTo>
                    <a:cubicBezTo>
                      <a:pt x="171" y="478"/>
                      <a:pt x="171" y="478"/>
                      <a:pt x="171" y="479"/>
                    </a:cubicBezTo>
                    <a:cubicBezTo>
                      <a:pt x="169" y="486"/>
                      <a:pt x="166" y="495"/>
                      <a:pt x="165" y="505"/>
                    </a:cubicBezTo>
                    <a:cubicBezTo>
                      <a:pt x="111" y="509"/>
                      <a:pt x="59" y="514"/>
                      <a:pt x="6" y="520"/>
                    </a:cubicBezTo>
                    <a:cubicBezTo>
                      <a:pt x="4" y="544"/>
                      <a:pt x="1" y="569"/>
                      <a:pt x="0" y="594"/>
                    </a:cubicBezTo>
                    <a:cubicBezTo>
                      <a:pt x="1" y="631"/>
                      <a:pt x="4" y="667"/>
                      <a:pt x="10" y="703"/>
                    </a:cubicBezTo>
                    <a:cubicBezTo>
                      <a:pt x="61" y="709"/>
                      <a:pt x="113" y="714"/>
                      <a:pt x="165" y="717"/>
                    </a:cubicBezTo>
                    <a:cubicBezTo>
                      <a:pt x="166" y="726"/>
                      <a:pt x="169" y="735"/>
                      <a:pt x="171" y="744"/>
                    </a:cubicBezTo>
                    <a:cubicBezTo>
                      <a:pt x="178" y="765"/>
                      <a:pt x="186" y="786"/>
                      <a:pt x="195" y="806"/>
                    </a:cubicBezTo>
                    <a:cubicBezTo>
                      <a:pt x="204" y="823"/>
                      <a:pt x="211" y="840"/>
                      <a:pt x="223" y="856"/>
                    </a:cubicBezTo>
                    <a:cubicBezTo>
                      <a:pt x="190" y="896"/>
                      <a:pt x="156" y="936"/>
                      <a:pt x="125" y="978"/>
                    </a:cubicBezTo>
                    <a:cubicBezTo>
                      <a:pt x="161" y="1028"/>
                      <a:pt x="204" y="1071"/>
                      <a:pt x="254" y="1106"/>
                    </a:cubicBezTo>
                    <a:lnTo>
                      <a:pt x="255" y="1106"/>
                    </a:lnTo>
                    <a:cubicBezTo>
                      <a:pt x="295" y="1073"/>
                      <a:pt x="335" y="1040"/>
                      <a:pt x="375" y="1006"/>
                    </a:cubicBezTo>
                    <a:lnTo>
                      <a:pt x="375" y="1005"/>
                    </a:lnTo>
                    <a:cubicBezTo>
                      <a:pt x="389" y="1014"/>
                      <a:pt x="401" y="1021"/>
                      <a:pt x="416" y="1028"/>
                    </a:cubicBezTo>
                    <a:cubicBezTo>
                      <a:pt x="439" y="1038"/>
                      <a:pt x="461" y="1046"/>
                      <a:pt x="484" y="1053"/>
                    </a:cubicBezTo>
                    <a:cubicBezTo>
                      <a:pt x="493" y="1055"/>
                      <a:pt x="500" y="1057"/>
                      <a:pt x="509" y="1059"/>
                    </a:cubicBezTo>
                    <a:cubicBezTo>
                      <a:pt x="513" y="1113"/>
                      <a:pt x="519" y="1164"/>
                      <a:pt x="524" y="1216"/>
                    </a:cubicBezTo>
                    <a:cubicBezTo>
                      <a:pt x="546" y="1220"/>
                      <a:pt x="569" y="1221"/>
                      <a:pt x="593" y="1223"/>
                    </a:cubicBezTo>
                    <a:lnTo>
                      <a:pt x="629" y="1223"/>
                    </a:lnTo>
                    <a:cubicBezTo>
                      <a:pt x="655" y="1221"/>
                      <a:pt x="681" y="1219"/>
                      <a:pt x="707" y="1215"/>
                    </a:cubicBezTo>
                    <a:cubicBezTo>
                      <a:pt x="712" y="1163"/>
                      <a:pt x="719" y="1110"/>
                      <a:pt x="723" y="1056"/>
                    </a:cubicBezTo>
                    <a:cubicBezTo>
                      <a:pt x="730" y="1055"/>
                      <a:pt x="738" y="1053"/>
                      <a:pt x="745" y="1051"/>
                    </a:cubicBezTo>
                    <a:cubicBezTo>
                      <a:pt x="766" y="1045"/>
                      <a:pt x="786" y="1038"/>
                      <a:pt x="806" y="1028"/>
                    </a:cubicBezTo>
                    <a:cubicBezTo>
                      <a:pt x="823" y="1020"/>
                      <a:pt x="840" y="1011"/>
                      <a:pt x="856" y="1000"/>
                    </a:cubicBezTo>
                    <a:cubicBezTo>
                      <a:pt x="856" y="1000"/>
                      <a:pt x="857" y="1000"/>
                      <a:pt x="859" y="1001"/>
                    </a:cubicBezTo>
                    <a:cubicBezTo>
                      <a:pt x="899" y="1035"/>
                      <a:pt x="939" y="1068"/>
                      <a:pt x="981" y="1101"/>
                    </a:cubicBezTo>
                    <a:cubicBezTo>
                      <a:pt x="989" y="1095"/>
                      <a:pt x="996" y="1089"/>
                      <a:pt x="1003" y="1084"/>
                    </a:cubicBezTo>
                    <a:cubicBezTo>
                      <a:pt x="1018" y="1070"/>
                      <a:pt x="1032" y="1058"/>
                      <a:pt x="1046" y="1043"/>
                    </a:cubicBezTo>
                    <a:cubicBezTo>
                      <a:pt x="1068" y="1020"/>
                      <a:pt x="1089" y="995"/>
                      <a:pt x="1107" y="969"/>
                    </a:cubicBezTo>
                    <a:cubicBezTo>
                      <a:pt x="1075" y="928"/>
                      <a:pt x="1041" y="888"/>
                      <a:pt x="1007" y="848"/>
                    </a:cubicBezTo>
                    <a:cubicBezTo>
                      <a:pt x="1006" y="848"/>
                      <a:pt x="1006" y="846"/>
                      <a:pt x="1006" y="846"/>
                    </a:cubicBezTo>
                    <a:cubicBezTo>
                      <a:pt x="1015" y="833"/>
                      <a:pt x="1021" y="819"/>
                      <a:pt x="1029" y="805"/>
                    </a:cubicBezTo>
                    <a:cubicBezTo>
                      <a:pt x="1037" y="786"/>
                      <a:pt x="1045" y="766"/>
                      <a:pt x="1051" y="746"/>
                    </a:cubicBezTo>
                    <a:cubicBezTo>
                      <a:pt x="1051" y="744"/>
                      <a:pt x="1053" y="741"/>
                      <a:pt x="1053" y="740"/>
                    </a:cubicBezTo>
                    <a:cubicBezTo>
                      <a:pt x="1055" y="733"/>
                      <a:pt x="1056" y="725"/>
                      <a:pt x="1059" y="719"/>
                    </a:cubicBezTo>
                    <a:cubicBezTo>
                      <a:pt x="1111" y="714"/>
                      <a:pt x="1164" y="709"/>
                      <a:pt x="1216" y="704"/>
                    </a:cubicBezTo>
                    <a:cubicBezTo>
                      <a:pt x="1220" y="680"/>
                      <a:pt x="1221" y="655"/>
                      <a:pt x="1223" y="630"/>
                    </a:cubicBezTo>
                    <a:lnTo>
                      <a:pt x="1223" y="611"/>
                    </a:lnTo>
                    <a:lnTo>
                      <a:pt x="1223" y="593"/>
                    </a:lnTo>
                    <a:cubicBezTo>
                      <a:pt x="1221" y="568"/>
                      <a:pt x="1220" y="543"/>
                      <a:pt x="1216" y="519"/>
                    </a:cubicBezTo>
                    <a:cubicBezTo>
                      <a:pt x="1164" y="514"/>
                      <a:pt x="1111" y="509"/>
                      <a:pt x="1059" y="504"/>
                    </a:cubicBezTo>
                    <a:cubicBezTo>
                      <a:pt x="1056" y="498"/>
                      <a:pt x="1055" y="490"/>
                      <a:pt x="1053" y="483"/>
                    </a:cubicBezTo>
                    <a:cubicBezTo>
                      <a:pt x="1046" y="460"/>
                      <a:pt x="1038" y="439"/>
                      <a:pt x="1029" y="418"/>
                    </a:cubicBezTo>
                    <a:cubicBezTo>
                      <a:pt x="1021" y="401"/>
                      <a:pt x="1013" y="386"/>
                      <a:pt x="1004" y="373"/>
                    </a:cubicBezTo>
                    <a:close/>
                    <a:moveTo>
                      <a:pt x="615" y="385"/>
                    </a:moveTo>
                    <a:cubicBezTo>
                      <a:pt x="676" y="385"/>
                      <a:pt x="729" y="406"/>
                      <a:pt x="774" y="450"/>
                    </a:cubicBezTo>
                    <a:cubicBezTo>
                      <a:pt x="818" y="494"/>
                      <a:pt x="839" y="546"/>
                      <a:pt x="839" y="609"/>
                    </a:cubicBezTo>
                    <a:cubicBezTo>
                      <a:pt x="839" y="670"/>
                      <a:pt x="818" y="723"/>
                      <a:pt x="774" y="768"/>
                    </a:cubicBezTo>
                    <a:cubicBezTo>
                      <a:pt x="729" y="811"/>
                      <a:pt x="676" y="833"/>
                      <a:pt x="615" y="833"/>
                    </a:cubicBezTo>
                    <a:cubicBezTo>
                      <a:pt x="553" y="833"/>
                      <a:pt x="500" y="811"/>
                      <a:pt x="456" y="768"/>
                    </a:cubicBezTo>
                    <a:cubicBezTo>
                      <a:pt x="413" y="723"/>
                      <a:pt x="390" y="670"/>
                      <a:pt x="390" y="609"/>
                    </a:cubicBezTo>
                    <a:cubicBezTo>
                      <a:pt x="390" y="546"/>
                      <a:pt x="413" y="494"/>
                      <a:pt x="456" y="450"/>
                    </a:cubicBezTo>
                    <a:cubicBezTo>
                      <a:pt x="500" y="406"/>
                      <a:pt x="553" y="385"/>
                      <a:pt x="615" y="38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50" name="Gear">
                <a:extLst>
                  <a:ext uri="{FF2B5EF4-FFF2-40B4-BE49-F238E27FC236}">
                    <a16:creationId xmlns:a16="http://schemas.microsoft.com/office/drawing/2014/main" id="{FD04AEFF-6700-4AA6-9F24-67AAFAA1EFB7}"/>
                  </a:ext>
                </a:extLst>
              </p:cNvPr>
              <p:cNvSpPr>
                <a:spLocks noEditPoint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74" y="171"/>
                <a:ext cx="150" cy="150"/>
              </a:xfrm>
              <a:custGeom>
                <a:avLst/>
                <a:gdLst>
                  <a:gd name="T0" fmla="*/ 328 w 384"/>
                  <a:gd name="T1" fmla="*/ 56 h 384"/>
                  <a:gd name="T2" fmla="*/ 191 w 384"/>
                  <a:gd name="T3" fmla="*/ 0 h 384"/>
                  <a:gd name="T4" fmla="*/ 55 w 384"/>
                  <a:gd name="T5" fmla="*/ 56 h 384"/>
                  <a:gd name="T6" fmla="*/ 0 w 384"/>
                  <a:gd name="T7" fmla="*/ 193 h 384"/>
                  <a:gd name="T8" fmla="*/ 55 w 384"/>
                  <a:gd name="T9" fmla="*/ 328 h 384"/>
                  <a:gd name="T10" fmla="*/ 56 w 384"/>
                  <a:gd name="T11" fmla="*/ 328 h 384"/>
                  <a:gd name="T12" fmla="*/ 191 w 384"/>
                  <a:gd name="T13" fmla="*/ 384 h 384"/>
                  <a:gd name="T14" fmla="*/ 328 w 384"/>
                  <a:gd name="T15" fmla="*/ 328 h 384"/>
                  <a:gd name="T16" fmla="*/ 328 w 384"/>
                  <a:gd name="T17" fmla="*/ 328 h 384"/>
                  <a:gd name="T18" fmla="*/ 384 w 384"/>
                  <a:gd name="T19" fmla="*/ 193 h 384"/>
                  <a:gd name="T20" fmla="*/ 384 w 384"/>
                  <a:gd name="T21" fmla="*/ 193 h 384"/>
                  <a:gd name="T22" fmla="*/ 328 w 384"/>
                  <a:gd name="T23" fmla="*/ 56 h 384"/>
                  <a:gd name="T24" fmla="*/ 191 w 384"/>
                  <a:gd name="T25" fmla="*/ 49 h 384"/>
                  <a:gd name="T26" fmla="*/ 294 w 384"/>
                  <a:gd name="T27" fmla="*/ 92 h 384"/>
                  <a:gd name="T28" fmla="*/ 335 w 384"/>
                  <a:gd name="T29" fmla="*/ 193 h 384"/>
                  <a:gd name="T30" fmla="*/ 335 w 384"/>
                  <a:gd name="T31" fmla="*/ 193 h 384"/>
                  <a:gd name="T32" fmla="*/ 294 w 384"/>
                  <a:gd name="T33" fmla="*/ 294 h 384"/>
                  <a:gd name="T34" fmla="*/ 294 w 384"/>
                  <a:gd name="T35" fmla="*/ 294 h 384"/>
                  <a:gd name="T36" fmla="*/ 191 w 384"/>
                  <a:gd name="T37" fmla="*/ 337 h 384"/>
                  <a:gd name="T38" fmla="*/ 90 w 384"/>
                  <a:gd name="T39" fmla="*/ 294 h 384"/>
                  <a:gd name="T40" fmla="*/ 90 w 384"/>
                  <a:gd name="T41" fmla="*/ 294 h 384"/>
                  <a:gd name="T42" fmla="*/ 47 w 384"/>
                  <a:gd name="T43" fmla="*/ 193 h 384"/>
                  <a:gd name="T44" fmla="*/ 90 w 384"/>
                  <a:gd name="T45" fmla="*/ 92 h 384"/>
                  <a:gd name="T46" fmla="*/ 191 w 384"/>
                  <a:gd name="T47" fmla="*/ 49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84" h="384">
                    <a:moveTo>
                      <a:pt x="328" y="56"/>
                    </a:moveTo>
                    <a:cubicBezTo>
                      <a:pt x="290" y="19"/>
                      <a:pt x="245" y="0"/>
                      <a:pt x="191" y="0"/>
                    </a:cubicBezTo>
                    <a:cubicBezTo>
                      <a:pt x="139" y="0"/>
                      <a:pt x="93" y="19"/>
                      <a:pt x="55" y="56"/>
                    </a:cubicBezTo>
                    <a:cubicBezTo>
                      <a:pt x="19" y="94"/>
                      <a:pt x="0" y="139"/>
                      <a:pt x="0" y="193"/>
                    </a:cubicBezTo>
                    <a:cubicBezTo>
                      <a:pt x="0" y="245"/>
                      <a:pt x="19" y="290"/>
                      <a:pt x="55" y="328"/>
                    </a:cubicBezTo>
                    <a:lnTo>
                      <a:pt x="56" y="328"/>
                    </a:lnTo>
                    <a:cubicBezTo>
                      <a:pt x="94" y="365"/>
                      <a:pt x="139" y="384"/>
                      <a:pt x="191" y="384"/>
                    </a:cubicBezTo>
                    <a:cubicBezTo>
                      <a:pt x="245" y="384"/>
                      <a:pt x="290" y="365"/>
                      <a:pt x="328" y="328"/>
                    </a:cubicBezTo>
                    <a:lnTo>
                      <a:pt x="328" y="328"/>
                    </a:lnTo>
                    <a:cubicBezTo>
                      <a:pt x="365" y="290"/>
                      <a:pt x="384" y="245"/>
                      <a:pt x="384" y="193"/>
                    </a:cubicBezTo>
                    <a:lnTo>
                      <a:pt x="384" y="193"/>
                    </a:lnTo>
                    <a:cubicBezTo>
                      <a:pt x="384" y="139"/>
                      <a:pt x="365" y="94"/>
                      <a:pt x="328" y="56"/>
                    </a:cubicBezTo>
                    <a:close/>
                    <a:moveTo>
                      <a:pt x="191" y="49"/>
                    </a:moveTo>
                    <a:cubicBezTo>
                      <a:pt x="231" y="49"/>
                      <a:pt x="265" y="63"/>
                      <a:pt x="294" y="92"/>
                    </a:cubicBezTo>
                    <a:cubicBezTo>
                      <a:pt x="321" y="119"/>
                      <a:pt x="335" y="153"/>
                      <a:pt x="335" y="193"/>
                    </a:cubicBezTo>
                    <a:lnTo>
                      <a:pt x="335" y="193"/>
                    </a:lnTo>
                    <a:cubicBezTo>
                      <a:pt x="335" y="233"/>
                      <a:pt x="321" y="265"/>
                      <a:pt x="294" y="294"/>
                    </a:cubicBezTo>
                    <a:lnTo>
                      <a:pt x="294" y="294"/>
                    </a:lnTo>
                    <a:cubicBezTo>
                      <a:pt x="265" y="322"/>
                      <a:pt x="231" y="337"/>
                      <a:pt x="191" y="337"/>
                    </a:cubicBezTo>
                    <a:cubicBezTo>
                      <a:pt x="153" y="337"/>
                      <a:pt x="118" y="322"/>
                      <a:pt x="90" y="294"/>
                    </a:cubicBezTo>
                    <a:lnTo>
                      <a:pt x="90" y="294"/>
                    </a:lnTo>
                    <a:cubicBezTo>
                      <a:pt x="61" y="265"/>
                      <a:pt x="47" y="232"/>
                      <a:pt x="47" y="193"/>
                    </a:cubicBezTo>
                    <a:cubicBezTo>
                      <a:pt x="47" y="153"/>
                      <a:pt x="61" y="119"/>
                      <a:pt x="90" y="92"/>
                    </a:cubicBezTo>
                    <a:cubicBezTo>
                      <a:pt x="118" y="63"/>
                      <a:pt x="153" y="49"/>
                      <a:pt x="191" y="49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</p:grpSp>
        <p:grpSp>
          <p:nvGrpSpPr>
            <p:cNvPr id="34" name="Government">
              <a:extLst>
                <a:ext uri="{FF2B5EF4-FFF2-40B4-BE49-F238E27FC236}">
                  <a16:creationId xmlns:a16="http://schemas.microsoft.com/office/drawing/2014/main" id="{8D6A6FC5-F812-4043-904E-3D4EDD7BC44E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4285133" y="3061484"/>
              <a:ext cx="252820" cy="252135"/>
              <a:chOff x="35" y="39"/>
              <a:chExt cx="369" cy="368"/>
            </a:xfrm>
            <a:solidFill>
              <a:srgbClr val="FFFFFF"/>
            </a:solidFill>
          </p:grpSpPr>
          <p:sp>
            <p:nvSpPr>
              <p:cNvPr id="47" name="Government">
                <a:extLst>
                  <a:ext uri="{FF2B5EF4-FFF2-40B4-BE49-F238E27FC236}">
                    <a16:creationId xmlns:a16="http://schemas.microsoft.com/office/drawing/2014/main" id="{1916BBCF-4713-4AA3-80D3-8C61C1DF1715}"/>
                  </a:ext>
                </a:extLst>
              </p:cNvPr>
              <p:cNvSpPr>
                <a:spLocks noEditPoint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35" y="134"/>
                <a:ext cx="369" cy="273"/>
              </a:xfrm>
              <a:custGeom>
                <a:avLst/>
                <a:gdLst>
                  <a:gd name="T0" fmla="*/ 207 w 218"/>
                  <a:gd name="T1" fmla="*/ 117 h 161"/>
                  <a:gd name="T2" fmla="*/ 189 w 218"/>
                  <a:gd name="T3" fmla="*/ 117 h 161"/>
                  <a:gd name="T4" fmla="*/ 189 w 218"/>
                  <a:gd name="T5" fmla="*/ 22 h 161"/>
                  <a:gd name="T6" fmla="*/ 207 w 218"/>
                  <a:gd name="T7" fmla="*/ 22 h 161"/>
                  <a:gd name="T8" fmla="*/ 207 w 218"/>
                  <a:gd name="T9" fmla="*/ 0 h 161"/>
                  <a:gd name="T10" fmla="*/ 13 w 218"/>
                  <a:gd name="T11" fmla="*/ 0 h 161"/>
                  <a:gd name="T12" fmla="*/ 13 w 218"/>
                  <a:gd name="T13" fmla="*/ 22 h 161"/>
                  <a:gd name="T14" fmla="*/ 27 w 218"/>
                  <a:gd name="T15" fmla="*/ 22 h 161"/>
                  <a:gd name="T16" fmla="*/ 27 w 218"/>
                  <a:gd name="T17" fmla="*/ 117 h 161"/>
                  <a:gd name="T18" fmla="*/ 13 w 218"/>
                  <a:gd name="T19" fmla="*/ 117 h 161"/>
                  <a:gd name="T20" fmla="*/ 13 w 218"/>
                  <a:gd name="T21" fmla="*/ 139 h 161"/>
                  <a:gd name="T22" fmla="*/ 0 w 218"/>
                  <a:gd name="T23" fmla="*/ 139 h 161"/>
                  <a:gd name="T24" fmla="*/ 0 w 218"/>
                  <a:gd name="T25" fmla="*/ 161 h 161"/>
                  <a:gd name="T26" fmla="*/ 218 w 218"/>
                  <a:gd name="T27" fmla="*/ 161 h 161"/>
                  <a:gd name="T28" fmla="*/ 218 w 218"/>
                  <a:gd name="T29" fmla="*/ 139 h 161"/>
                  <a:gd name="T30" fmla="*/ 207 w 218"/>
                  <a:gd name="T31" fmla="*/ 139 h 161"/>
                  <a:gd name="T32" fmla="*/ 207 w 218"/>
                  <a:gd name="T33" fmla="*/ 117 h 161"/>
                  <a:gd name="T34" fmla="*/ 97 w 218"/>
                  <a:gd name="T35" fmla="*/ 117 h 161"/>
                  <a:gd name="T36" fmla="*/ 97 w 218"/>
                  <a:gd name="T37" fmla="*/ 22 h 161"/>
                  <a:gd name="T38" fmla="*/ 120 w 218"/>
                  <a:gd name="T39" fmla="*/ 22 h 161"/>
                  <a:gd name="T40" fmla="*/ 120 w 218"/>
                  <a:gd name="T41" fmla="*/ 117 h 161"/>
                  <a:gd name="T42" fmla="*/ 97 w 218"/>
                  <a:gd name="T43" fmla="*/ 117 h 161"/>
                  <a:gd name="T44" fmla="*/ 167 w 218"/>
                  <a:gd name="T45" fmla="*/ 117 h 161"/>
                  <a:gd name="T46" fmla="*/ 143 w 218"/>
                  <a:gd name="T47" fmla="*/ 117 h 161"/>
                  <a:gd name="T48" fmla="*/ 143 w 218"/>
                  <a:gd name="T49" fmla="*/ 22 h 161"/>
                  <a:gd name="T50" fmla="*/ 167 w 218"/>
                  <a:gd name="T51" fmla="*/ 22 h 161"/>
                  <a:gd name="T52" fmla="*/ 167 w 218"/>
                  <a:gd name="T53" fmla="*/ 117 h 161"/>
                  <a:gd name="T54" fmla="*/ 49 w 218"/>
                  <a:gd name="T55" fmla="*/ 22 h 161"/>
                  <a:gd name="T56" fmla="*/ 73 w 218"/>
                  <a:gd name="T57" fmla="*/ 22 h 161"/>
                  <a:gd name="T58" fmla="*/ 73 w 218"/>
                  <a:gd name="T59" fmla="*/ 117 h 161"/>
                  <a:gd name="T60" fmla="*/ 49 w 218"/>
                  <a:gd name="T61" fmla="*/ 117 h 161"/>
                  <a:gd name="T62" fmla="*/ 49 w 218"/>
                  <a:gd name="T63" fmla="*/ 22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8" h="161">
                    <a:moveTo>
                      <a:pt x="207" y="117"/>
                    </a:moveTo>
                    <a:lnTo>
                      <a:pt x="189" y="117"/>
                    </a:lnTo>
                    <a:lnTo>
                      <a:pt x="189" y="22"/>
                    </a:lnTo>
                    <a:lnTo>
                      <a:pt x="207" y="22"/>
                    </a:lnTo>
                    <a:lnTo>
                      <a:pt x="207" y="0"/>
                    </a:lnTo>
                    <a:lnTo>
                      <a:pt x="13" y="0"/>
                    </a:lnTo>
                    <a:lnTo>
                      <a:pt x="13" y="22"/>
                    </a:lnTo>
                    <a:lnTo>
                      <a:pt x="27" y="22"/>
                    </a:lnTo>
                    <a:lnTo>
                      <a:pt x="27" y="117"/>
                    </a:lnTo>
                    <a:lnTo>
                      <a:pt x="13" y="117"/>
                    </a:lnTo>
                    <a:lnTo>
                      <a:pt x="13" y="139"/>
                    </a:lnTo>
                    <a:lnTo>
                      <a:pt x="0" y="139"/>
                    </a:lnTo>
                    <a:lnTo>
                      <a:pt x="0" y="161"/>
                    </a:lnTo>
                    <a:lnTo>
                      <a:pt x="218" y="161"/>
                    </a:lnTo>
                    <a:lnTo>
                      <a:pt x="218" y="139"/>
                    </a:lnTo>
                    <a:lnTo>
                      <a:pt x="207" y="139"/>
                    </a:lnTo>
                    <a:lnTo>
                      <a:pt x="207" y="117"/>
                    </a:lnTo>
                    <a:close/>
                    <a:moveTo>
                      <a:pt x="97" y="117"/>
                    </a:moveTo>
                    <a:lnTo>
                      <a:pt x="97" y="22"/>
                    </a:lnTo>
                    <a:lnTo>
                      <a:pt x="120" y="22"/>
                    </a:lnTo>
                    <a:lnTo>
                      <a:pt x="120" y="117"/>
                    </a:lnTo>
                    <a:lnTo>
                      <a:pt x="97" y="117"/>
                    </a:lnTo>
                    <a:close/>
                    <a:moveTo>
                      <a:pt x="167" y="117"/>
                    </a:moveTo>
                    <a:lnTo>
                      <a:pt x="143" y="117"/>
                    </a:lnTo>
                    <a:lnTo>
                      <a:pt x="143" y="22"/>
                    </a:lnTo>
                    <a:lnTo>
                      <a:pt x="167" y="22"/>
                    </a:lnTo>
                    <a:lnTo>
                      <a:pt x="167" y="117"/>
                    </a:lnTo>
                    <a:close/>
                    <a:moveTo>
                      <a:pt x="49" y="22"/>
                    </a:moveTo>
                    <a:lnTo>
                      <a:pt x="73" y="22"/>
                    </a:lnTo>
                    <a:lnTo>
                      <a:pt x="73" y="117"/>
                    </a:lnTo>
                    <a:lnTo>
                      <a:pt x="49" y="117"/>
                    </a:lnTo>
                    <a:lnTo>
                      <a:pt x="49" y="2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48" name="Government">
                <a:extLst>
                  <a:ext uri="{FF2B5EF4-FFF2-40B4-BE49-F238E27FC236}">
                    <a16:creationId xmlns:a16="http://schemas.microsoft.com/office/drawing/2014/main" id="{8FE21DA5-7B44-4F91-974A-3236635681EA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35" y="39"/>
                <a:ext cx="369" cy="84"/>
              </a:xfrm>
              <a:custGeom>
                <a:avLst/>
                <a:gdLst>
                  <a:gd name="T0" fmla="*/ 218 w 218"/>
                  <a:gd name="T1" fmla="*/ 27 h 50"/>
                  <a:gd name="T2" fmla="*/ 218 w 218"/>
                  <a:gd name="T3" fmla="*/ 27 h 50"/>
                  <a:gd name="T4" fmla="*/ 218 w 218"/>
                  <a:gd name="T5" fmla="*/ 27 h 50"/>
                  <a:gd name="T6" fmla="*/ 218 w 218"/>
                  <a:gd name="T7" fmla="*/ 27 h 50"/>
                  <a:gd name="T8" fmla="*/ 109 w 218"/>
                  <a:gd name="T9" fmla="*/ 0 h 50"/>
                  <a:gd name="T10" fmla="*/ 0 w 218"/>
                  <a:gd name="T11" fmla="*/ 27 h 50"/>
                  <a:gd name="T12" fmla="*/ 0 w 218"/>
                  <a:gd name="T13" fmla="*/ 27 h 50"/>
                  <a:gd name="T14" fmla="*/ 0 w 218"/>
                  <a:gd name="T15" fmla="*/ 27 h 50"/>
                  <a:gd name="T16" fmla="*/ 0 w 218"/>
                  <a:gd name="T17" fmla="*/ 27 h 50"/>
                  <a:gd name="T18" fmla="*/ 0 w 218"/>
                  <a:gd name="T19" fmla="*/ 27 h 50"/>
                  <a:gd name="T20" fmla="*/ 0 w 218"/>
                  <a:gd name="T21" fmla="*/ 50 h 50"/>
                  <a:gd name="T22" fmla="*/ 218 w 218"/>
                  <a:gd name="T23" fmla="*/ 50 h 50"/>
                  <a:gd name="T24" fmla="*/ 218 w 218"/>
                  <a:gd name="T25" fmla="*/ 2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8" h="50">
                    <a:moveTo>
                      <a:pt x="218" y="27"/>
                    </a:moveTo>
                    <a:lnTo>
                      <a:pt x="218" y="27"/>
                    </a:lnTo>
                    <a:lnTo>
                      <a:pt x="218" y="27"/>
                    </a:lnTo>
                    <a:lnTo>
                      <a:pt x="218" y="27"/>
                    </a:lnTo>
                    <a:lnTo>
                      <a:pt x="109" y="0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27"/>
                    </a:lnTo>
                    <a:lnTo>
                      <a:pt x="0" y="50"/>
                    </a:lnTo>
                    <a:lnTo>
                      <a:pt x="218" y="50"/>
                    </a:lnTo>
                    <a:lnTo>
                      <a:pt x="218" y="27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</p:grpSp>
        <p:grpSp>
          <p:nvGrpSpPr>
            <p:cNvPr id="35" name="Group2">
              <a:extLst>
                <a:ext uri="{FF2B5EF4-FFF2-40B4-BE49-F238E27FC236}">
                  <a16:creationId xmlns:a16="http://schemas.microsoft.com/office/drawing/2014/main" id="{7D70F085-3B26-4A80-BFE0-5391FE48128C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4709708" y="2464167"/>
              <a:ext cx="350810" cy="208376"/>
              <a:chOff x="27" y="117"/>
              <a:chExt cx="399" cy="237"/>
            </a:xfrm>
            <a:solidFill>
              <a:srgbClr val="FFFFFF"/>
            </a:solidFill>
          </p:grpSpPr>
          <p:sp>
            <p:nvSpPr>
              <p:cNvPr id="40" name="Group2">
                <a:extLst>
                  <a:ext uri="{FF2B5EF4-FFF2-40B4-BE49-F238E27FC236}">
                    <a16:creationId xmlns:a16="http://schemas.microsoft.com/office/drawing/2014/main" id="{6A8A3F24-81C6-4E47-A816-A6106629CE72}"/>
                  </a:ext>
                </a:extLst>
              </p:cNvPr>
              <p:cNvSpPr>
                <a:spLocks noEditPoint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17" y="117"/>
                <a:ext cx="217" cy="237"/>
              </a:xfrm>
              <a:custGeom>
                <a:avLst/>
                <a:gdLst>
                  <a:gd name="T0" fmla="*/ 38 w 150"/>
                  <a:gd name="T1" fmla="*/ 38 h 163"/>
                  <a:gd name="T2" fmla="*/ 75 w 150"/>
                  <a:gd name="T3" fmla="*/ 0 h 163"/>
                  <a:gd name="T4" fmla="*/ 113 w 150"/>
                  <a:gd name="T5" fmla="*/ 38 h 163"/>
                  <a:gd name="T6" fmla="*/ 75 w 150"/>
                  <a:gd name="T7" fmla="*/ 75 h 163"/>
                  <a:gd name="T8" fmla="*/ 38 w 150"/>
                  <a:gd name="T9" fmla="*/ 38 h 163"/>
                  <a:gd name="T10" fmla="*/ 75 w 150"/>
                  <a:gd name="T11" fmla="*/ 100 h 163"/>
                  <a:gd name="T12" fmla="*/ 0 w 150"/>
                  <a:gd name="T13" fmla="*/ 141 h 163"/>
                  <a:gd name="T14" fmla="*/ 0 w 150"/>
                  <a:gd name="T15" fmla="*/ 163 h 163"/>
                  <a:gd name="T16" fmla="*/ 150 w 150"/>
                  <a:gd name="T17" fmla="*/ 163 h 163"/>
                  <a:gd name="T18" fmla="*/ 150 w 150"/>
                  <a:gd name="T19" fmla="*/ 141 h 163"/>
                  <a:gd name="T20" fmla="*/ 75 w 150"/>
                  <a:gd name="T21" fmla="*/ 10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0" h="163">
                    <a:moveTo>
                      <a:pt x="38" y="38"/>
                    </a:moveTo>
                    <a:cubicBezTo>
                      <a:pt x="38" y="16"/>
                      <a:pt x="54" y="0"/>
                      <a:pt x="75" y="0"/>
                    </a:cubicBezTo>
                    <a:cubicBezTo>
                      <a:pt x="96" y="0"/>
                      <a:pt x="113" y="16"/>
                      <a:pt x="113" y="38"/>
                    </a:cubicBezTo>
                    <a:cubicBezTo>
                      <a:pt x="113" y="59"/>
                      <a:pt x="96" y="75"/>
                      <a:pt x="75" y="75"/>
                    </a:cubicBezTo>
                    <a:cubicBezTo>
                      <a:pt x="54" y="75"/>
                      <a:pt x="38" y="59"/>
                      <a:pt x="38" y="38"/>
                    </a:cubicBezTo>
                    <a:close/>
                    <a:moveTo>
                      <a:pt x="75" y="100"/>
                    </a:moveTo>
                    <a:cubicBezTo>
                      <a:pt x="18" y="100"/>
                      <a:pt x="0" y="141"/>
                      <a:pt x="0" y="141"/>
                    </a:cubicBezTo>
                    <a:lnTo>
                      <a:pt x="0" y="163"/>
                    </a:lnTo>
                    <a:lnTo>
                      <a:pt x="150" y="163"/>
                    </a:lnTo>
                    <a:lnTo>
                      <a:pt x="150" y="141"/>
                    </a:lnTo>
                    <a:cubicBezTo>
                      <a:pt x="150" y="141"/>
                      <a:pt x="133" y="100"/>
                      <a:pt x="75" y="10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41" name="Group2">
                <a:extLst>
                  <a:ext uri="{FF2B5EF4-FFF2-40B4-BE49-F238E27FC236}">
                    <a16:creationId xmlns:a16="http://schemas.microsoft.com/office/drawing/2014/main" id="{84FA87DD-5CE6-4D28-8BE1-86BBE008CD3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298" y="117"/>
                <a:ext cx="91" cy="92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42" name="Group2">
                <a:extLst>
                  <a:ext uri="{FF2B5EF4-FFF2-40B4-BE49-F238E27FC236}">
                    <a16:creationId xmlns:a16="http://schemas.microsoft.com/office/drawing/2014/main" id="{EED8BE75-13E7-41D9-8792-5B7D672C0590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292" y="245"/>
                <a:ext cx="134" cy="74"/>
              </a:xfrm>
              <a:custGeom>
                <a:avLst/>
                <a:gdLst>
                  <a:gd name="T0" fmla="*/ 35 w 92"/>
                  <a:gd name="T1" fmla="*/ 0 h 51"/>
                  <a:gd name="T2" fmla="*/ 0 w 92"/>
                  <a:gd name="T3" fmla="*/ 10 h 51"/>
                  <a:gd name="T4" fmla="*/ 40 w 92"/>
                  <a:gd name="T5" fmla="*/ 50 h 51"/>
                  <a:gd name="T6" fmla="*/ 40 w 92"/>
                  <a:gd name="T7" fmla="*/ 51 h 51"/>
                  <a:gd name="T8" fmla="*/ 92 w 92"/>
                  <a:gd name="T9" fmla="*/ 51 h 51"/>
                  <a:gd name="T10" fmla="*/ 92 w 92"/>
                  <a:gd name="T11" fmla="*/ 35 h 51"/>
                  <a:gd name="T12" fmla="*/ 35 w 92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2" h="51">
                    <a:moveTo>
                      <a:pt x="35" y="0"/>
                    </a:moveTo>
                    <a:cubicBezTo>
                      <a:pt x="20" y="0"/>
                      <a:pt x="9" y="3"/>
                      <a:pt x="0" y="10"/>
                    </a:cubicBezTo>
                    <a:cubicBezTo>
                      <a:pt x="29" y="23"/>
                      <a:pt x="40" y="47"/>
                      <a:pt x="40" y="50"/>
                    </a:cubicBezTo>
                    <a:lnTo>
                      <a:pt x="40" y="51"/>
                    </a:lnTo>
                    <a:lnTo>
                      <a:pt x="92" y="51"/>
                    </a:lnTo>
                    <a:lnTo>
                      <a:pt x="92" y="35"/>
                    </a:lnTo>
                    <a:cubicBezTo>
                      <a:pt x="92" y="33"/>
                      <a:pt x="78" y="0"/>
                      <a:pt x="35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43" name="Group2">
                <a:extLst>
                  <a:ext uri="{FF2B5EF4-FFF2-40B4-BE49-F238E27FC236}">
                    <a16:creationId xmlns:a16="http://schemas.microsoft.com/office/drawing/2014/main" id="{E577A7C0-611C-4246-A37B-FF3DC1CEBB68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298" y="117"/>
                <a:ext cx="91" cy="92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44" name="Group2">
                <a:extLst>
                  <a:ext uri="{FF2B5EF4-FFF2-40B4-BE49-F238E27FC236}">
                    <a16:creationId xmlns:a16="http://schemas.microsoft.com/office/drawing/2014/main" id="{6BCCF26E-EC5D-4FEE-9F7E-378B77B17738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292" y="245"/>
                <a:ext cx="134" cy="74"/>
              </a:xfrm>
              <a:custGeom>
                <a:avLst/>
                <a:gdLst>
                  <a:gd name="T0" fmla="*/ 35 w 92"/>
                  <a:gd name="T1" fmla="*/ 0 h 51"/>
                  <a:gd name="T2" fmla="*/ 0 w 92"/>
                  <a:gd name="T3" fmla="*/ 10 h 51"/>
                  <a:gd name="T4" fmla="*/ 40 w 92"/>
                  <a:gd name="T5" fmla="*/ 50 h 51"/>
                  <a:gd name="T6" fmla="*/ 40 w 92"/>
                  <a:gd name="T7" fmla="*/ 51 h 51"/>
                  <a:gd name="T8" fmla="*/ 92 w 92"/>
                  <a:gd name="T9" fmla="*/ 51 h 51"/>
                  <a:gd name="T10" fmla="*/ 92 w 92"/>
                  <a:gd name="T11" fmla="*/ 35 h 51"/>
                  <a:gd name="T12" fmla="*/ 35 w 92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2" h="51">
                    <a:moveTo>
                      <a:pt x="35" y="0"/>
                    </a:moveTo>
                    <a:cubicBezTo>
                      <a:pt x="20" y="0"/>
                      <a:pt x="9" y="3"/>
                      <a:pt x="0" y="10"/>
                    </a:cubicBezTo>
                    <a:cubicBezTo>
                      <a:pt x="29" y="23"/>
                      <a:pt x="40" y="47"/>
                      <a:pt x="40" y="50"/>
                    </a:cubicBezTo>
                    <a:lnTo>
                      <a:pt x="40" y="51"/>
                    </a:lnTo>
                    <a:lnTo>
                      <a:pt x="92" y="51"/>
                    </a:lnTo>
                    <a:lnTo>
                      <a:pt x="92" y="35"/>
                    </a:lnTo>
                    <a:cubicBezTo>
                      <a:pt x="92" y="33"/>
                      <a:pt x="78" y="0"/>
                      <a:pt x="35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45" name="Group2">
                <a:extLst>
                  <a:ext uri="{FF2B5EF4-FFF2-40B4-BE49-F238E27FC236}">
                    <a16:creationId xmlns:a16="http://schemas.microsoft.com/office/drawing/2014/main" id="{FB85F762-E575-433D-8A3D-7B66C9809B4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63" y="117"/>
                <a:ext cx="90" cy="92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46" name="Group2">
                <a:extLst>
                  <a:ext uri="{FF2B5EF4-FFF2-40B4-BE49-F238E27FC236}">
                    <a16:creationId xmlns:a16="http://schemas.microsoft.com/office/drawing/2014/main" id="{E23511B4-514A-4BA3-9A27-10A2D731C0EF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27" y="245"/>
                <a:ext cx="132" cy="74"/>
              </a:xfrm>
              <a:custGeom>
                <a:avLst/>
                <a:gdLst>
                  <a:gd name="T0" fmla="*/ 56 w 91"/>
                  <a:gd name="T1" fmla="*/ 0 h 51"/>
                  <a:gd name="T2" fmla="*/ 91 w 91"/>
                  <a:gd name="T3" fmla="*/ 10 h 51"/>
                  <a:gd name="T4" fmla="*/ 51 w 91"/>
                  <a:gd name="T5" fmla="*/ 50 h 51"/>
                  <a:gd name="T6" fmla="*/ 51 w 91"/>
                  <a:gd name="T7" fmla="*/ 51 h 51"/>
                  <a:gd name="T8" fmla="*/ 0 w 91"/>
                  <a:gd name="T9" fmla="*/ 51 h 51"/>
                  <a:gd name="T10" fmla="*/ 0 w 91"/>
                  <a:gd name="T11" fmla="*/ 35 h 51"/>
                  <a:gd name="T12" fmla="*/ 56 w 91"/>
                  <a:gd name="T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1" h="51">
                    <a:moveTo>
                      <a:pt x="56" y="0"/>
                    </a:moveTo>
                    <a:cubicBezTo>
                      <a:pt x="71" y="0"/>
                      <a:pt x="82" y="3"/>
                      <a:pt x="91" y="10"/>
                    </a:cubicBezTo>
                    <a:cubicBezTo>
                      <a:pt x="62" y="23"/>
                      <a:pt x="51" y="47"/>
                      <a:pt x="51" y="50"/>
                    </a:cubicBezTo>
                    <a:lnTo>
                      <a:pt x="51" y="51"/>
                    </a:lnTo>
                    <a:lnTo>
                      <a:pt x="0" y="51"/>
                    </a:lnTo>
                    <a:lnTo>
                      <a:pt x="0" y="35"/>
                    </a:lnTo>
                    <a:cubicBezTo>
                      <a:pt x="0" y="33"/>
                      <a:pt x="13" y="0"/>
                      <a:pt x="56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s-ES" sz="2793" b="1" kern="0" dirty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</p:grpSp>
        <p:grpSp>
          <p:nvGrpSpPr>
            <p:cNvPr id="36" name="Map">
              <a:extLst>
                <a:ext uri="{FF2B5EF4-FFF2-40B4-BE49-F238E27FC236}">
                  <a16:creationId xmlns:a16="http://schemas.microsoft.com/office/drawing/2014/main" id="{601DF2C7-D940-4540-B144-78F0CAC2DC2A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516427" y="2120855"/>
              <a:ext cx="283074" cy="283551"/>
              <a:chOff x="2609" y="927"/>
              <a:chExt cx="2382" cy="2386"/>
            </a:xfrm>
            <a:solidFill>
              <a:srgbClr val="FFFFFF"/>
            </a:solidFill>
          </p:grpSpPr>
          <p:sp>
            <p:nvSpPr>
              <p:cNvPr id="37" name="Freeform 344">
                <a:extLst>
                  <a:ext uri="{FF2B5EF4-FFF2-40B4-BE49-F238E27FC236}">
                    <a16:creationId xmlns:a16="http://schemas.microsoft.com/office/drawing/2014/main" id="{08940E7F-7BA6-4C17-A6C2-62825F3D0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" y="951"/>
                <a:ext cx="663" cy="2342"/>
              </a:xfrm>
              <a:custGeom>
                <a:avLst/>
                <a:gdLst>
                  <a:gd name="T0" fmla="*/ 663 w 663"/>
                  <a:gd name="T1" fmla="*/ 0 h 2342"/>
                  <a:gd name="T2" fmla="*/ 0 w 663"/>
                  <a:gd name="T3" fmla="*/ 218 h 2342"/>
                  <a:gd name="T4" fmla="*/ 0 w 663"/>
                  <a:gd name="T5" fmla="*/ 2342 h 2342"/>
                  <a:gd name="T6" fmla="*/ 663 w 663"/>
                  <a:gd name="T7" fmla="*/ 2120 h 2342"/>
                  <a:gd name="T8" fmla="*/ 663 w 663"/>
                  <a:gd name="T9" fmla="*/ 0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3" h="2342">
                    <a:moveTo>
                      <a:pt x="663" y="0"/>
                    </a:moveTo>
                    <a:lnTo>
                      <a:pt x="0" y="218"/>
                    </a:lnTo>
                    <a:lnTo>
                      <a:pt x="0" y="2342"/>
                    </a:lnTo>
                    <a:lnTo>
                      <a:pt x="663" y="2120"/>
                    </a:lnTo>
                    <a:lnTo>
                      <a:pt x="66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n-US" sz="2793" b="1" kern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38" name="Freeform 345">
                <a:extLst>
                  <a:ext uri="{FF2B5EF4-FFF2-40B4-BE49-F238E27FC236}">
                    <a16:creationId xmlns:a16="http://schemas.microsoft.com/office/drawing/2014/main" id="{0B67C942-F8BF-4729-A60B-F5524A42D3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9" y="927"/>
                <a:ext cx="730" cy="2366"/>
              </a:xfrm>
              <a:custGeom>
                <a:avLst/>
                <a:gdLst>
                  <a:gd name="T0" fmla="*/ 730 w 730"/>
                  <a:gd name="T1" fmla="*/ 242 h 2366"/>
                  <a:gd name="T2" fmla="*/ 0 w 730"/>
                  <a:gd name="T3" fmla="*/ 0 h 2366"/>
                  <a:gd name="T4" fmla="*/ 0 w 730"/>
                  <a:gd name="T5" fmla="*/ 2124 h 2366"/>
                  <a:gd name="T6" fmla="*/ 730 w 730"/>
                  <a:gd name="T7" fmla="*/ 2366 h 2366"/>
                  <a:gd name="T8" fmla="*/ 730 w 730"/>
                  <a:gd name="T9" fmla="*/ 242 h 2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30" h="2366">
                    <a:moveTo>
                      <a:pt x="730" y="242"/>
                    </a:moveTo>
                    <a:lnTo>
                      <a:pt x="0" y="0"/>
                    </a:lnTo>
                    <a:lnTo>
                      <a:pt x="0" y="2124"/>
                    </a:lnTo>
                    <a:lnTo>
                      <a:pt x="730" y="2366"/>
                    </a:lnTo>
                    <a:lnTo>
                      <a:pt x="730" y="2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n-US" sz="2793" b="1" kern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  <p:sp>
            <p:nvSpPr>
              <p:cNvPr id="39" name="Freeform 346">
                <a:extLst>
                  <a:ext uri="{FF2B5EF4-FFF2-40B4-BE49-F238E27FC236}">
                    <a16:creationId xmlns:a16="http://schemas.microsoft.com/office/drawing/2014/main" id="{FBDF35E3-3B49-4008-8EB6-9C01514732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4" y="951"/>
                <a:ext cx="727" cy="2362"/>
              </a:xfrm>
              <a:custGeom>
                <a:avLst/>
                <a:gdLst>
                  <a:gd name="T0" fmla="*/ 0 w 727"/>
                  <a:gd name="T1" fmla="*/ 2120 h 2362"/>
                  <a:gd name="T2" fmla="*/ 727 w 727"/>
                  <a:gd name="T3" fmla="*/ 2362 h 2362"/>
                  <a:gd name="T4" fmla="*/ 727 w 727"/>
                  <a:gd name="T5" fmla="*/ 242 h 2362"/>
                  <a:gd name="T6" fmla="*/ 0 w 727"/>
                  <a:gd name="T7" fmla="*/ 0 h 2362"/>
                  <a:gd name="T8" fmla="*/ 0 w 727"/>
                  <a:gd name="T9" fmla="*/ 2120 h 2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7" h="2362">
                    <a:moveTo>
                      <a:pt x="0" y="2120"/>
                    </a:moveTo>
                    <a:lnTo>
                      <a:pt x="727" y="2362"/>
                    </a:lnTo>
                    <a:lnTo>
                      <a:pt x="727" y="242"/>
                    </a:lnTo>
                    <a:lnTo>
                      <a:pt x="0" y="0"/>
                    </a:lnTo>
                    <a:lnTo>
                      <a:pt x="0" y="21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202" tIns="45601" rIns="91202" bIns="45601" numCol="1" anchor="t" anchorCtr="0" compatLnSpc="1">
                <a:prstTxWarp prst="textNoShape">
                  <a:avLst/>
                </a:prstTxWarp>
              </a:bodyPr>
              <a:lstStyle/>
              <a:p>
                <a:pPr defTabSz="912023">
                  <a:defRPr/>
                </a:pPr>
                <a:endParaRPr lang="en-US" sz="2793" b="1" kern="0">
                  <a:solidFill>
                    <a:prstClr val="black"/>
                  </a:solidFill>
                  <a:latin typeface="Calibri" panose="020F0502020204030204"/>
                  <a:ea typeface="Microsoft YaHei"/>
                  <a:cs typeface="Arial"/>
                  <a:sym typeface="Arial"/>
                </a:endParaRPr>
              </a:p>
            </p:txBody>
          </p:sp>
        </p:grpSp>
      </p:grpSp>
      <p:sp>
        <p:nvSpPr>
          <p:cNvPr id="57" name="CuadroTexto 56">
            <a:extLst>
              <a:ext uri="{FF2B5EF4-FFF2-40B4-BE49-F238E27FC236}">
                <a16:creationId xmlns:a16="http://schemas.microsoft.com/office/drawing/2014/main" id="{8FA58F60-891A-446F-93B1-363218BB5423}"/>
              </a:ext>
            </a:extLst>
          </p:cNvPr>
          <p:cNvSpPr txBox="1"/>
          <p:nvPr/>
        </p:nvSpPr>
        <p:spPr>
          <a:xfrm>
            <a:off x="965610" y="3811085"/>
            <a:ext cx="260314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rtl="0">
              <a:defRPr lang="es-es"/>
            </a:defPPr>
            <a:lvl1pPr algn="ctr" defTabSz="448095">
              <a:buClr>
                <a:srgbClr val="000000"/>
              </a:buClr>
              <a:buSzPct val="100000"/>
              <a:defRPr sz="1795">
                <a:solidFill>
                  <a:srgbClr val="00206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</a:lstStyle>
          <a:p>
            <a:r>
              <a:rPr lang="es-ES" sz="1600" dirty="0">
                <a:latin typeface="Montserrat" panose="00000500000000000000" pitchFamily="2" charset="0"/>
              </a:rPr>
              <a:t>Identificación de la necesidad, análisis estado del arte y vigilancia tecnológica </a:t>
            </a:r>
          </a:p>
        </p:txBody>
      </p:sp>
      <p:cxnSp>
        <p:nvCxnSpPr>
          <p:cNvPr id="58" name="Conector recto 57">
            <a:extLst>
              <a:ext uri="{FF2B5EF4-FFF2-40B4-BE49-F238E27FC236}">
                <a16:creationId xmlns:a16="http://schemas.microsoft.com/office/drawing/2014/main" id="{27C5D392-7874-4E7F-8736-6161377F5190}"/>
              </a:ext>
            </a:extLst>
          </p:cNvPr>
          <p:cNvCxnSpPr/>
          <p:nvPr/>
        </p:nvCxnSpPr>
        <p:spPr bwMode="auto">
          <a:xfrm>
            <a:off x="3539132" y="3410546"/>
            <a:ext cx="0" cy="914051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accent1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CuadroTexto 58">
            <a:extLst>
              <a:ext uri="{FF2B5EF4-FFF2-40B4-BE49-F238E27FC236}">
                <a16:creationId xmlns:a16="http://schemas.microsoft.com/office/drawing/2014/main" id="{F24C1CFF-2864-4206-852F-A885E246B38E}"/>
              </a:ext>
            </a:extLst>
          </p:cNvPr>
          <p:cNvSpPr txBox="1"/>
          <p:nvPr/>
        </p:nvSpPr>
        <p:spPr>
          <a:xfrm>
            <a:off x="3098284" y="2212659"/>
            <a:ext cx="16031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8095">
              <a:buClr>
                <a:srgbClr val="000000"/>
              </a:buClr>
              <a:buSzPct val="100000"/>
            </a:pPr>
            <a:r>
              <a:rPr lang="es-ES" sz="1600" b="1" dirty="0">
                <a:solidFill>
                  <a:srgbClr val="EAB200"/>
                </a:solidFill>
                <a:latin typeface="Montserrat" panose="00000500000000000000" pitchFamily="2" charset="0"/>
                <a:ea typeface="Microsoft YaHei" panose="020B0503020204020204" pitchFamily="34" charset="-122"/>
              </a:rPr>
              <a:t>Consulta Preliminar al Mercado</a:t>
            </a: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BCB2FC29-BC39-49C3-B4B4-1461CD6D8FCC}"/>
              </a:ext>
            </a:extLst>
          </p:cNvPr>
          <p:cNvSpPr txBox="1"/>
          <p:nvPr/>
        </p:nvSpPr>
        <p:spPr>
          <a:xfrm>
            <a:off x="4760831" y="2005048"/>
            <a:ext cx="24701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48095">
              <a:buClr>
                <a:srgbClr val="000000"/>
              </a:buClr>
              <a:buSzPct val="100000"/>
            </a:pPr>
            <a:r>
              <a:rPr lang="es-ES" sz="1600" dirty="0">
                <a:solidFill>
                  <a:srgbClr val="002060"/>
                </a:solidFill>
                <a:latin typeface="Montserrat" panose="00000500000000000000" pitchFamily="2" charset="0"/>
                <a:ea typeface="Microsoft YaHei" panose="020B0503020204020204" pitchFamily="34" charset="-122"/>
              </a:rPr>
              <a:t>Elaboración de los pliegos de CPI</a:t>
            </a: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1DDC2B11-0B1C-4585-83C0-966B886F5241}"/>
              </a:ext>
            </a:extLst>
          </p:cNvPr>
          <p:cNvSpPr txBox="1"/>
          <p:nvPr/>
        </p:nvSpPr>
        <p:spPr>
          <a:xfrm>
            <a:off x="7733908" y="2560046"/>
            <a:ext cx="26705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8095">
              <a:buClr>
                <a:srgbClr val="000000"/>
              </a:buClr>
              <a:buSzPct val="100000"/>
            </a:pPr>
            <a:r>
              <a:rPr lang="es-ES" sz="1600" dirty="0">
                <a:solidFill>
                  <a:srgbClr val="002060"/>
                </a:solidFill>
                <a:latin typeface="Montserrat" panose="00000500000000000000" pitchFamily="2" charset="0"/>
                <a:ea typeface="Microsoft YaHei" panose="020B0503020204020204" pitchFamily="34" charset="-122"/>
              </a:rPr>
              <a:t>Publicación, evaluación y adjudicación</a:t>
            </a:r>
          </a:p>
        </p:txBody>
      </p:sp>
      <p:sp>
        <p:nvSpPr>
          <p:cNvPr id="63" name="CuadroTexto 62">
            <a:extLst>
              <a:ext uri="{FF2B5EF4-FFF2-40B4-BE49-F238E27FC236}">
                <a16:creationId xmlns:a16="http://schemas.microsoft.com/office/drawing/2014/main" id="{BD0C5646-5326-4F89-B447-FBCB2265F853}"/>
              </a:ext>
            </a:extLst>
          </p:cNvPr>
          <p:cNvSpPr txBox="1"/>
          <p:nvPr/>
        </p:nvSpPr>
        <p:spPr>
          <a:xfrm>
            <a:off x="7993531" y="4080695"/>
            <a:ext cx="21574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8095">
              <a:buClr>
                <a:srgbClr val="000000"/>
              </a:buClr>
              <a:buSzPct val="100000"/>
            </a:pPr>
            <a:r>
              <a:rPr lang="es-ES" sz="1600" dirty="0">
                <a:solidFill>
                  <a:srgbClr val="002060"/>
                </a:solidFill>
                <a:latin typeface="Montserrat" panose="00000500000000000000" pitchFamily="2" charset="0"/>
                <a:ea typeface="Microsoft YaHei" panose="020B0503020204020204" pitchFamily="34" charset="-122"/>
              </a:rPr>
              <a:t>Ejecución de los contratos de CPI</a:t>
            </a:r>
          </a:p>
        </p:txBody>
      </p:sp>
      <p:sp>
        <p:nvSpPr>
          <p:cNvPr id="2" name="Rectángulo 14">
            <a:extLst>
              <a:ext uri="{FF2B5EF4-FFF2-40B4-BE49-F238E27FC236}">
                <a16:creationId xmlns:a16="http://schemas.microsoft.com/office/drawing/2014/main" id="{3ED8F553-628B-70CF-5601-F1F0EB5B604E}"/>
              </a:ext>
            </a:extLst>
          </p:cNvPr>
          <p:cNvSpPr/>
          <p:nvPr/>
        </p:nvSpPr>
        <p:spPr>
          <a:xfrm flipV="1">
            <a:off x="1643971" y="0"/>
            <a:ext cx="596957" cy="76277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94000">
                <a:schemeClr val="accent1">
                  <a:lumMod val="20000"/>
                  <a:lumOff val="80000"/>
                </a:schemeClr>
              </a:gs>
              <a:gs pos="83000">
                <a:schemeClr val="tx1"/>
              </a:gs>
              <a:gs pos="100000">
                <a:schemeClr val="accent4">
                  <a:lumMod val="50000"/>
                </a:schemeClr>
              </a:gs>
            </a:gsLst>
            <a:lin ang="13500000" scaled="1"/>
            <a:tileRect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lang="es-ES" sz="3192" dirty="0">
              <a:solidFill>
                <a:schemeClr val="bg1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96FD3F37-08EC-F456-8DFF-E4F48BE92937}"/>
              </a:ext>
            </a:extLst>
          </p:cNvPr>
          <p:cNvSpPr txBox="1"/>
          <p:nvPr/>
        </p:nvSpPr>
        <p:spPr>
          <a:xfrm>
            <a:off x="5744348" y="157363"/>
            <a:ext cx="609452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600" dirty="0">
                <a:solidFill>
                  <a:srgbClr val="002060"/>
                </a:solidFill>
                <a:latin typeface="Montserrat" panose="00000500000000000000" pitchFamily="2" charset="0"/>
                <a:ea typeface="Microsoft YaHei" panose="020B0503020204020204" pitchFamily="34" charset="-122"/>
              </a:rPr>
              <a:t>La </a:t>
            </a:r>
            <a:r>
              <a:rPr lang="es-ES" sz="1600" u="sng" dirty="0">
                <a:solidFill>
                  <a:srgbClr val="002060"/>
                </a:solidFill>
                <a:latin typeface="Montserrat" panose="00000500000000000000" pitchFamily="2" charset="0"/>
                <a:ea typeface="Microsoft YaHei" panose="020B0503020204020204" pitchFamily="34" charset="-122"/>
              </a:rPr>
              <a:t>Compra Pública de Innovación </a:t>
            </a:r>
            <a:r>
              <a:rPr lang="es-ES" sz="1600" dirty="0">
                <a:solidFill>
                  <a:srgbClr val="002060"/>
                </a:solidFill>
                <a:latin typeface="Montserrat" panose="00000500000000000000" pitchFamily="2" charset="0"/>
                <a:ea typeface="Microsoft YaHei" panose="020B0503020204020204" pitchFamily="34" charset="-122"/>
              </a:rPr>
              <a:t>es una actuación administrativa de fomento de la innovación orientada a contribuir a la mejora de los servicios públicos desde el lado de la demanda, a través del instrumento de la contratación pública.</a:t>
            </a:r>
          </a:p>
        </p:txBody>
      </p:sp>
    </p:spTree>
    <p:extLst>
      <p:ext uri="{BB962C8B-B14F-4D97-AF65-F5344CB8AC3E}">
        <p14:creationId xmlns:p14="http://schemas.microsoft.com/office/powerpoint/2010/main" val="2066856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adroTexto 15">
            <a:extLst>
              <a:ext uri="{FF2B5EF4-FFF2-40B4-BE49-F238E27FC236}">
                <a16:creationId xmlns:a16="http://schemas.microsoft.com/office/drawing/2014/main" id="{C7DA380F-EAEC-4BE8-BA43-977CAD9EAF52}"/>
              </a:ext>
            </a:extLst>
          </p:cNvPr>
          <p:cNvSpPr txBox="1"/>
          <p:nvPr/>
        </p:nvSpPr>
        <p:spPr>
          <a:xfrm>
            <a:off x="2111307" y="69924"/>
            <a:ext cx="6269665" cy="644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rtl="0">
              <a:defRPr lang="es-es"/>
            </a:defPPr>
            <a:lvl1pPr defTabSz="912023" fontAlgn="base">
              <a:spcBef>
                <a:spcPct val="0"/>
              </a:spcBef>
              <a:spcAft>
                <a:spcPct val="0"/>
              </a:spcAft>
              <a:defRPr sz="359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s-ES" dirty="0"/>
              <a:t>Aspectos clave del formulario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E4279191-369B-47AC-91D5-E70CD50E6FA2}"/>
              </a:ext>
            </a:extLst>
          </p:cNvPr>
          <p:cNvSpPr/>
          <p:nvPr/>
        </p:nvSpPr>
        <p:spPr>
          <a:xfrm>
            <a:off x="120003" y="1253477"/>
            <a:ext cx="11920245" cy="4048995"/>
          </a:xfrm>
          <a:prstGeom prst="rect">
            <a:avLst/>
          </a:prstGeom>
          <a:solidFill>
            <a:srgbClr val="000000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6972" tIns="53483" rIns="106972" bIns="53483" rtlCol="0" anchor="t"/>
          <a:lstStyle/>
          <a:p>
            <a:pPr defTabSz="912023" eaLnBrk="0" fontAlgn="base" hangingPunct="0">
              <a:spcBef>
                <a:spcPts val="598"/>
              </a:spcBef>
              <a:spcAft>
                <a:spcPct val="0"/>
              </a:spcAft>
              <a:buClr>
                <a:srgbClr val="003A43">
                  <a:lumMod val="90000"/>
                  <a:lumOff val="10000"/>
                </a:srgbClr>
              </a:buClr>
              <a:defRPr/>
            </a:pPr>
            <a:endParaRPr lang="es-ES" sz="1197" dirty="0">
              <a:solidFill>
                <a:srgbClr val="000000"/>
              </a:solidFill>
              <a:latin typeface="Futura PT Book"/>
            </a:endParaRPr>
          </a:p>
        </p:txBody>
      </p:sp>
      <p:sp>
        <p:nvSpPr>
          <p:cNvPr id="33" name="Forma libre: forma 32">
            <a:extLst>
              <a:ext uri="{FF2B5EF4-FFF2-40B4-BE49-F238E27FC236}">
                <a16:creationId xmlns:a16="http://schemas.microsoft.com/office/drawing/2014/main" id="{1F15F496-2461-42CC-8A88-AB2118407D3E}"/>
              </a:ext>
            </a:extLst>
          </p:cNvPr>
          <p:cNvSpPr/>
          <p:nvPr/>
        </p:nvSpPr>
        <p:spPr>
          <a:xfrm>
            <a:off x="206869" y="1205316"/>
            <a:ext cx="2288951" cy="2106044"/>
          </a:xfrm>
          <a:custGeom>
            <a:avLst/>
            <a:gdLst>
              <a:gd name="connsiteX0" fmla="*/ 0 w 2125699"/>
              <a:gd name="connsiteY0" fmla="*/ 0 h 1275419"/>
              <a:gd name="connsiteX1" fmla="*/ 2125699 w 2125699"/>
              <a:gd name="connsiteY1" fmla="*/ 0 h 1275419"/>
              <a:gd name="connsiteX2" fmla="*/ 2125699 w 2125699"/>
              <a:gd name="connsiteY2" fmla="*/ 1275419 h 1275419"/>
              <a:gd name="connsiteX3" fmla="*/ 0 w 2125699"/>
              <a:gd name="connsiteY3" fmla="*/ 1275419 h 1275419"/>
              <a:gd name="connsiteX4" fmla="*/ 0 w 2125699"/>
              <a:gd name="connsiteY4" fmla="*/ 0 h 127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9" h="1275419">
                <a:moveTo>
                  <a:pt x="0" y="0"/>
                </a:moveTo>
                <a:lnTo>
                  <a:pt x="2125699" y="0"/>
                </a:lnTo>
                <a:lnTo>
                  <a:pt x="2125699" y="1275419"/>
                </a:lnTo>
                <a:lnTo>
                  <a:pt x="0" y="127541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spcFirstLastPara="0" vert="horz" wrap="square" lIns="40138" tIns="40138" rIns="40138" bIns="40138" numCol="1" spcCol="1270" anchor="ctr" anchorCtr="0">
            <a:noAutofit/>
          </a:bodyPr>
          <a:lstStyle/>
          <a:p>
            <a:pPr algn="ctr">
              <a:defRPr/>
            </a:pPr>
            <a:r>
              <a:rPr lang="es-ES" sz="1396" kern="0" dirty="0">
                <a:latin typeface="Arial"/>
                <a:ea typeface="Verdana" panose="020B0604030504040204" pitchFamily="34" charset="0"/>
              </a:rPr>
              <a:t>¿La entidad participante tiene </a:t>
            </a:r>
            <a:r>
              <a:rPr lang="es-ES" sz="1396" b="1" kern="0" dirty="0">
                <a:latin typeface="Arial"/>
                <a:ea typeface="Verdana" panose="020B0604030504040204" pitchFamily="34" charset="0"/>
              </a:rPr>
              <a:t>facturación</a:t>
            </a:r>
            <a:r>
              <a:rPr lang="es-ES" sz="1396" kern="0" dirty="0">
                <a:latin typeface="Arial"/>
                <a:ea typeface="Verdana" panose="020B0604030504040204" pitchFamily="34" charset="0"/>
              </a:rPr>
              <a:t> de tecnologías similares a las de la propuesta en últimos 3 ejercicios? </a:t>
            </a:r>
          </a:p>
        </p:txBody>
      </p:sp>
      <p:sp>
        <p:nvSpPr>
          <p:cNvPr id="34" name="Forma libre: forma 33">
            <a:extLst>
              <a:ext uri="{FF2B5EF4-FFF2-40B4-BE49-F238E27FC236}">
                <a16:creationId xmlns:a16="http://schemas.microsoft.com/office/drawing/2014/main" id="{7693043A-C4CF-4812-A55C-DC8F79DFE833}"/>
              </a:ext>
            </a:extLst>
          </p:cNvPr>
          <p:cNvSpPr/>
          <p:nvPr/>
        </p:nvSpPr>
        <p:spPr>
          <a:xfrm>
            <a:off x="2550078" y="1205316"/>
            <a:ext cx="2288951" cy="2106044"/>
          </a:xfrm>
          <a:custGeom>
            <a:avLst/>
            <a:gdLst>
              <a:gd name="connsiteX0" fmla="*/ 0 w 2125699"/>
              <a:gd name="connsiteY0" fmla="*/ 0 h 1275419"/>
              <a:gd name="connsiteX1" fmla="*/ 2125699 w 2125699"/>
              <a:gd name="connsiteY1" fmla="*/ 0 h 1275419"/>
              <a:gd name="connsiteX2" fmla="*/ 2125699 w 2125699"/>
              <a:gd name="connsiteY2" fmla="*/ 1275419 h 1275419"/>
              <a:gd name="connsiteX3" fmla="*/ 0 w 2125699"/>
              <a:gd name="connsiteY3" fmla="*/ 1275419 h 1275419"/>
              <a:gd name="connsiteX4" fmla="*/ 0 w 2125699"/>
              <a:gd name="connsiteY4" fmla="*/ 0 h 127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9" h="1275419">
                <a:moveTo>
                  <a:pt x="0" y="0"/>
                </a:moveTo>
                <a:lnTo>
                  <a:pt x="2125699" y="0"/>
                </a:lnTo>
                <a:lnTo>
                  <a:pt x="2125699" y="1275419"/>
                </a:lnTo>
                <a:lnTo>
                  <a:pt x="0" y="1275419"/>
                </a:lnTo>
                <a:lnTo>
                  <a:pt x="0" y="0"/>
                </a:lnTo>
                <a:close/>
              </a:path>
            </a:pathLst>
          </a:custGeom>
          <a:solidFill>
            <a:srgbClr val="313B4A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spcFirstLastPara="0" vert="horz" wrap="square" lIns="40138" tIns="40138" rIns="40138" bIns="40138" numCol="1" spcCol="1270" anchor="ctr" anchorCtr="0">
            <a:noAutofit/>
          </a:bodyPr>
          <a:lstStyle/>
          <a:p>
            <a:pPr algn="ctr">
              <a:defRPr/>
            </a:pPr>
            <a:r>
              <a:rPr lang="es-ES" sz="1396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¿La entidad dispone de </a:t>
            </a:r>
            <a:r>
              <a:rPr lang="es-ES" sz="1396" b="1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certificaciones</a:t>
            </a:r>
            <a:r>
              <a:rPr lang="es-ES" sz="1396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 relevantes para acometer los retos que se propone? </a:t>
            </a:r>
          </a:p>
        </p:txBody>
      </p:sp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B9433F0B-1B25-4DE2-8DD0-4A4F78B76F92}"/>
              </a:ext>
            </a:extLst>
          </p:cNvPr>
          <p:cNvSpPr/>
          <p:nvPr/>
        </p:nvSpPr>
        <p:spPr>
          <a:xfrm>
            <a:off x="4883763" y="1176741"/>
            <a:ext cx="2288951" cy="2106044"/>
          </a:xfrm>
          <a:custGeom>
            <a:avLst/>
            <a:gdLst>
              <a:gd name="connsiteX0" fmla="*/ 0 w 2125699"/>
              <a:gd name="connsiteY0" fmla="*/ 0 h 1275419"/>
              <a:gd name="connsiteX1" fmla="*/ 2125699 w 2125699"/>
              <a:gd name="connsiteY1" fmla="*/ 0 h 1275419"/>
              <a:gd name="connsiteX2" fmla="*/ 2125699 w 2125699"/>
              <a:gd name="connsiteY2" fmla="*/ 1275419 h 1275419"/>
              <a:gd name="connsiteX3" fmla="*/ 0 w 2125699"/>
              <a:gd name="connsiteY3" fmla="*/ 1275419 h 1275419"/>
              <a:gd name="connsiteX4" fmla="*/ 0 w 2125699"/>
              <a:gd name="connsiteY4" fmla="*/ 0 h 127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9" h="1275419">
                <a:moveTo>
                  <a:pt x="0" y="0"/>
                </a:moveTo>
                <a:lnTo>
                  <a:pt x="2125699" y="0"/>
                </a:lnTo>
                <a:lnTo>
                  <a:pt x="2125699" y="1275419"/>
                </a:lnTo>
                <a:lnTo>
                  <a:pt x="0" y="127541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spcFirstLastPara="0" vert="horz" wrap="square" lIns="40138" tIns="40138" rIns="40138" bIns="40138" numCol="1" spcCol="1270" anchor="ctr" anchorCtr="0">
            <a:noAutofit/>
          </a:bodyPr>
          <a:lstStyle/>
          <a:p>
            <a:pPr algn="ctr">
              <a:defRPr/>
            </a:pPr>
            <a:r>
              <a:rPr lang="es-ES" sz="1396" kern="0" dirty="0">
                <a:latin typeface="Arial"/>
                <a:ea typeface="Verdana" panose="020B0604030504040204" pitchFamily="34" charset="0"/>
              </a:rPr>
              <a:t>¿El personal de su entidad tiene </a:t>
            </a:r>
            <a:r>
              <a:rPr lang="es-ES" sz="1396" b="1" kern="0" dirty="0">
                <a:latin typeface="Arial"/>
                <a:ea typeface="Verdana" panose="020B0604030504040204" pitchFamily="34" charset="0"/>
              </a:rPr>
              <a:t>calificaciones </a:t>
            </a:r>
            <a:r>
              <a:rPr lang="es-ES" sz="1396" kern="0" dirty="0">
                <a:latin typeface="Arial"/>
                <a:ea typeface="Verdana" panose="020B0604030504040204" pitchFamily="34" charset="0"/>
              </a:rPr>
              <a:t>relevantes para acometer los trabajos que se propone? </a:t>
            </a:r>
          </a:p>
        </p:txBody>
      </p:sp>
      <p:sp>
        <p:nvSpPr>
          <p:cNvPr id="36" name="Forma libre: forma 35">
            <a:extLst>
              <a:ext uri="{FF2B5EF4-FFF2-40B4-BE49-F238E27FC236}">
                <a16:creationId xmlns:a16="http://schemas.microsoft.com/office/drawing/2014/main" id="{5A7AA509-FECD-44BC-9CF2-569698C34213}"/>
              </a:ext>
            </a:extLst>
          </p:cNvPr>
          <p:cNvSpPr/>
          <p:nvPr/>
        </p:nvSpPr>
        <p:spPr>
          <a:xfrm>
            <a:off x="7236497" y="1205316"/>
            <a:ext cx="2288951" cy="2106044"/>
          </a:xfrm>
          <a:custGeom>
            <a:avLst/>
            <a:gdLst>
              <a:gd name="connsiteX0" fmla="*/ 0 w 2125699"/>
              <a:gd name="connsiteY0" fmla="*/ 0 h 1275419"/>
              <a:gd name="connsiteX1" fmla="*/ 2125699 w 2125699"/>
              <a:gd name="connsiteY1" fmla="*/ 0 h 1275419"/>
              <a:gd name="connsiteX2" fmla="*/ 2125699 w 2125699"/>
              <a:gd name="connsiteY2" fmla="*/ 1275419 h 1275419"/>
              <a:gd name="connsiteX3" fmla="*/ 0 w 2125699"/>
              <a:gd name="connsiteY3" fmla="*/ 1275419 h 1275419"/>
              <a:gd name="connsiteX4" fmla="*/ 0 w 2125699"/>
              <a:gd name="connsiteY4" fmla="*/ 0 h 127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9" h="1275419">
                <a:moveTo>
                  <a:pt x="0" y="0"/>
                </a:moveTo>
                <a:lnTo>
                  <a:pt x="2125699" y="0"/>
                </a:lnTo>
                <a:lnTo>
                  <a:pt x="2125699" y="1275419"/>
                </a:lnTo>
                <a:lnTo>
                  <a:pt x="0" y="1275419"/>
                </a:lnTo>
                <a:lnTo>
                  <a:pt x="0" y="0"/>
                </a:lnTo>
                <a:close/>
              </a:path>
            </a:pathLst>
          </a:custGeom>
          <a:solidFill>
            <a:srgbClr val="313B4A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spcFirstLastPara="0" vert="horz" wrap="square" lIns="40138" tIns="40138" rIns="40138" bIns="40138" numCol="1" spcCol="1270" anchor="ctr" anchorCtr="0">
            <a:noAutofit/>
          </a:bodyPr>
          <a:lstStyle/>
          <a:p>
            <a:pPr algn="ctr">
              <a:defRPr/>
            </a:pPr>
            <a:endParaRPr lang="es-ES" sz="1396" kern="0" dirty="0">
              <a:solidFill>
                <a:prstClr val="white"/>
              </a:solidFill>
              <a:latin typeface="Arial"/>
              <a:ea typeface="Verdana" panose="020B0604030504040204" pitchFamily="34" charset="0"/>
            </a:endParaRPr>
          </a:p>
          <a:p>
            <a:pPr algn="ctr">
              <a:defRPr/>
            </a:pPr>
            <a:r>
              <a:rPr lang="es-ES" sz="1396" b="1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Información de investigaciones</a:t>
            </a:r>
            <a:r>
              <a:rPr lang="es-ES" sz="1396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, desarrollo de soluciones, publicaciones, etc., realizados o realizándose con objeto similar al indicado</a:t>
            </a:r>
          </a:p>
          <a:p>
            <a:pPr algn="ctr">
              <a:defRPr/>
            </a:pPr>
            <a:endParaRPr lang="es-ES" sz="1396" kern="0" dirty="0">
              <a:solidFill>
                <a:prstClr val="white"/>
              </a:solidFill>
              <a:latin typeface="Arial"/>
              <a:ea typeface="Verdana" panose="020B0604030504040204" pitchFamily="34" charset="0"/>
            </a:endParaRPr>
          </a:p>
        </p:txBody>
      </p:sp>
      <p:sp>
        <p:nvSpPr>
          <p:cNvPr id="42" name="Forma libre: forma 41">
            <a:extLst>
              <a:ext uri="{FF2B5EF4-FFF2-40B4-BE49-F238E27FC236}">
                <a16:creationId xmlns:a16="http://schemas.microsoft.com/office/drawing/2014/main" id="{4ED01910-10F5-42A0-83D8-DEF2BEE0A492}"/>
              </a:ext>
            </a:extLst>
          </p:cNvPr>
          <p:cNvSpPr/>
          <p:nvPr/>
        </p:nvSpPr>
        <p:spPr>
          <a:xfrm>
            <a:off x="9579706" y="1205316"/>
            <a:ext cx="2288951" cy="2106044"/>
          </a:xfrm>
          <a:custGeom>
            <a:avLst/>
            <a:gdLst>
              <a:gd name="connsiteX0" fmla="*/ 0 w 2125699"/>
              <a:gd name="connsiteY0" fmla="*/ 0 h 1275419"/>
              <a:gd name="connsiteX1" fmla="*/ 2125699 w 2125699"/>
              <a:gd name="connsiteY1" fmla="*/ 0 h 1275419"/>
              <a:gd name="connsiteX2" fmla="*/ 2125699 w 2125699"/>
              <a:gd name="connsiteY2" fmla="*/ 1275419 h 1275419"/>
              <a:gd name="connsiteX3" fmla="*/ 0 w 2125699"/>
              <a:gd name="connsiteY3" fmla="*/ 1275419 h 1275419"/>
              <a:gd name="connsiteX4" fmla="*/ 0 w 2125699"/>
              <a:gd name="connsiteY4" fmla="*/ 0 h 127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9" h="1275419">
                <a:moveTo>
                  <a:pt x="0" y="0"/>
                </a:moveTo>
                <a:lnTo>
                  <a:pt x="2125699" y="0"/>
                </a:lnTo>
                <a:lnTo>
                  <a:pt x="2125699" y="1275419"/>
                </a:lnTo>
                <a:lnTo>
                  <a:pt x="0" y="127541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spcFirstLastPara="0" vert="horz" wrap="square" lIns="40138" tIns="40138" rIns="40138" bIns="40138" numCol="1" spcCol="1270" anchor="ctr" anchorCtr="0">
            <a:noAutofit/>
          </a:bodyPr>
          <a:lstStyle/>
          <a:p>
            <a:pPr algn="ctr">
              <a:defRPr/>
            </a:pPr>
            <a:r>
              <a:rPr lang="es-ES" sz="1396" kern="0" dirty="0">
                <a:latin typeface="Arial"/>
                <a:ea typeface="Verdana" panose="020B0604030504040204" pitchFamily="34" charset="0"/>
              </a:rPr>
              <a:t>¿La entidad cuenta con </a:t>
            </a:r>
            <a:r>
              <a:rPr lang="es-ES" sz="1396" b="1" kern="0" dirty="0">
                <a:latin typeface="Arial"/>
                <a:ea typeface="Verdana" panose="020B0604030504040204" pitchFamily="34" charset="0"/>
              </a:rPr>
              <a:t>experiencia</a:t>
            </a:r>
            <a:r>
              <a:rPr lang="es-ES" sz="1396" kern="0" dirty="0">
                <a:latin typeface="Arial"/>
                <a:ea typeface="Verdana" panose="020B0604030504040204" pitchFamily="34" charset="0"/>
              </a:rPr>
              <a:t> en la ejecución de proyectos en el ámbito de alguno de los retos que se proponen o similares?</a:t>
            </a:r>
          </a:p>
          <a:p>
            <a:pPr algn="ctr">
              <a:defRPr/>
            </a:pPr>
            <a:endParaRPr lang="es-ES" sz="1396" kern="0" dirty="0">
              <a:latin typeface="Arial"/>
              <a:ea typeface="Verdana" panose="020B0604030504040204" pitchFamily="34" charset="0"/>
            </a:endParaRPr>
          </a:p>
        </p:txBody>
      </p:sp>
      <p:sp>
        <p:nvSpPr>
          <p:cNvPr id="45" name="Forma libre: forma 44">
            <a:extLst>
              <a:ext uri="{FF2B5EF4-FFF2-40B4-BE49-F238E27FC236}">
                <a16:creationId xmlns:a16="http://schemas.microsoft.com/office/drawing/2014/main" id="{C1554EE8-A8B5-43A6-9A57-8D7D03AF8ABB}"/>
              </a:ext>
            </a:extLst>
          </p:cNvPr>
          <p:cNvSpPr/>
          <p:nvPr/>
        </p:nvSpPr>
        <p:spPr>
          <a:xfrm>
            <a:off x="206869" y="3375114"/>
            <a:ext cx="2288951" cy="2106044"/>
          </a:xfrm>
          <a:custGeom>
            <a:avLst/>
            <a:gdLst>
              <a:gd name="connsiteX0" fmla="*/ 0 w 2125699"/>
              <a:gd name="connsiteY0" fmla="*/ 0 h 1275419"/>
              <a:gd name="connsiteX1" fmla="*/ 2125699 w 2125699"/>
              <a:gd name="connsiteY1" fmla="*/ 0 h 1275419"/>
              <a:gd name="connsiteX2" fmla="*/ 2125699 w 2125699"/>
              <a:gd name="connsiteY2" fmla="*/ 1275419 h 1275419"/>
              <a:gd name="connsiteX3" fmla="*/ 0 w 2125699"/>
              <a:gd name="connsiteY3" fmla="*/ 1275419 h 1275419"/>
              <a:gd name="connsiteX4" fmla="*/ 0 w 2125699"/>
              <a:gd name="connsiteY4" fmla="*/ 0 h 127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9" h="1275419">
                <a:moveTo>
                  <a:pt x="0" y="0"/>
                </a:moveTo>
                <a:lnTo>
                  <a:pt x="2125699" y="0"/>
                </a:lnTo>
                <a:lnTo>
                  <a:pt x="2125699" y="1275419"/>
                </a:lnTo>
                <a:lnTo>
                  <a:pt x="0" y="1275419"/>
                </a:lnTo>
                <a:lnTo>
                  <a:pt x="0" y="0"/>
                </a:lnTo>
                <a:close/>
              </a:path>
            </a:pathLst>
          </a:custGeom>
          <a:solidFill>
            <a:srgbClr val="313B4A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spcFirstLastPara="0" vert="horz" wrap="square" lIns="40138" tIns="40138" rIns="40138" bIns="40138" numCol="1" spcCol="1270" anchor="ctr" anchorCtr="0">
            <a:noAutofit/>
          </a:bodyPr>
          <a:lstStyle/>
          <a:p>
            <a:pPr algn="ctr">
              <a:defRPr/>
            </a:pPr>
            <a:r>
              <a:rPr lang="es-ES" sz="1396" b="1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Breve resumen </a:t>
            </a:r>
            <a:r>
              <a:rPr lang="es-ES" sz="1396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de la propuesta de solución: especificación funcional y nivel de madurez actual en el que se encuentra su solución propuesta (1.250 caracteres)</a:t>
            </a:r>
          </a:p>
        </p:txBody>
      </p:sp>
      <p:sp>
        <p:nvSpPr>
          <p:cNvPr id="46" name="Forma libre: forma 45">
            <a:extLst>
              <a:ext uri="{FF2B5EF4-FFF2-40B4-BE49-F238E27FC236}">
                <a16:creationId xmlns:a16="http://schemas.microsoft.com/office/drawing/2014/main" id="{4BB91F9D-C101-4CB3-BAF7-5A6B20D503CE}"/>
              </a:ext>
            </a:extLst>
          </p:cNvPr>
          <p:cNvSpPr/>
          <p:nvPr/>
        </p:nvSpPr>
        <p:spPr>
          <a:xfrm>
            <a:off x="2550078" y="3375114"/>
            <a:ext cx="2288951" cy="2106044"/>
          </a:xfrm>
          <a:custGeom>
            <a:avLst/>
            <a:gdLst>
              <a:gd name="connsiteX0" fmla="*/ 0 w 2125699"/>
              <a:gd name="connsiteY0" fmla="*/ 0 h 1275419"/>
              <a:gd name="connsiteX1" fmla="*/ 2125699 w 2125699"/>
              <a:gd name="connsiteY1" fmla="*/ 0 h 1275419"/>
              <a:gd name="connsiteX2" fmla="*/ 2125699 w 2125699"/>
              <a:gd name="connsiteY2" fmla="*/ 1275419 h 1275419"/>
              <a:gd name="connsiteX3" fmla="*/ 0 w 2125699"/>
              <a:gd name="connsiteY3" fmla="*/ 1275419 h 1275419"/>
              <a:gd name="connsiteX4" fmla="*/ 0 w 2125699"/>
              <a:gd name="connsiteY4" fmla="*/ 0 h 127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9" h="1275419">
                <a:moveTo>
                  <a:pt x="0" y="0"/>
                </a:moveTo>
                <a:lnTo>
                  <a:pt x="2125699" y="0"/>
                </a:lnTo>
                <a:lnTo>
                  <a:pt x="2125699" y="1275419"/>
                </a:lnTo>
                <a:lnTo>
                  <a:pt x="0" y="127541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spcFirstLastPara="0" vert="horz" wrap="square" lIns="40138" tIns="40138" rIns="40138" bIns="40138" numCol="1" spcCol="1270" anchor="ctr" anchorCtr="0">
            <a:noAutofit/>
          </a:bodyPr>
          <a:lstStyle/>
          <a:p>
            <a:pPr algn="ctr">
              <a:defRPr/>
            </a:pPr>
            <a:r>
              <a:rPr lang="es-ES" sz="1396" b="1" kern="0" dirty="0">
                <a:latin typeface="Arial"/>
                <a:ea typeface="Verdana" panose="020B0604030504040204" pitchFamily="34" charset="0"/>
              </a:rPr>
              <a:t>Duración estimada </a:t>
            </a:r>
            <a:r>
              <a:rPr lang="es-ES" sz="1396" kern="0" dirty="0">
                <a:latin typeface="Arial"/>
                <a:ea typeface="Verdana" panose="020B0604030504040204" pitchFamily="34" charset="0"/>
              </a:rPr>
              <a:t>para la ejecución de la propuesta planteada (meses) </a:t>
            </a:r>
          </a:p>
        </p:txBody>
      </p:sp>
      <p:sp>
        <p:nvSpPr>
          <p:cNvPr id="47" name="Forma libre: forma 46">
            <a:extLst>
              <a:ext uri="{FF2B5EF4-FFF2-40B4-BE49-F238E27FC236}">
                <a16:creationId xmlns:a16="http://schemas.microsoft.com/office/drawing/2014/main" id="{7AF9C10E-5D00-407B-AD99-2F55839FCF1D}"/>
              </a:ext>
            </a:extLst>
          </p:cNvPr>
          <p:cNvSpPr/>
          <p:nvPr/>
        </p:nvSpPr>
        <p:spPr>
          <a:xfrm>
            <a:off x="4893288" y="3375114"/>
            <a:ext cx="2288951" cy="2106044"/>
          </a:xfrm>
          <a:custGeom>
            <a:avLst/>
            <a:gdLst>
              <a:gd name="connsiteX0" fmla="*/ 0 w 2125699"/>
              <a:gd name="connsiteY0" fmla="*/ 0 h 1275419"/>
              <a:gd name="connsiteX1" fmla="*/ 2125699 w 2125699"/>
              <a:gd name="connsiteY1" fmla="*/ 0 h 1275419"/>
              <a:gd name="connsiteX2" fmla="*/ 2125699 w 2125699"/>
              <a:gd name="connsiteY2" fmla="*/ 1275419 h 1275419"/>
              <a:gd name="connsiteX3" fmla="*/ 0 w 2125699"/>
              <a:gd name="connsiteY3" fmla="*/ 1275419 h 1275419"/>
              <a:gd name="connsiteX4" fmla="*/ 0 w 2125699"/>
              <a:gd name="connsiteY4" fmla="*/ 0 h 127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9" h="1275419">
                <a:moveTo>
                  <a:pt x="0" y="0"/>
                </a:moveTo>
                <a:lnTo>
                  <a:pt x="2125699" y="0"/>
                </a:lnTo>
                <a:lnTo>
                  <a:pt x="2125699" y="1275419"/>
                </a:lnTo>
                <a:lnTo>
                  <a:pt x="0" y="1275419"/>
                </a:lnTo>
                <a:lnTo>
                  <a:pt x="0" y="0"/>
                </a:lnTo>
                <a:close/>
              </a:path>
            </a:pathLst>
          </a:custGeom>
          <a:solidFill>
            <a:srgbClr val="313B4A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spcFirstLastPara="0" vert="horz" wrap="square" lIns="40138" tIns="40138" rIns="40138" bIns="40138" numCol="1" spcCol="1270" anchor="ctr" anchorCtr="0">
            <a:noAutofit/>
          </a:bodyPr>
          <a:lstStyle/>
          <a:p>
            <a:pPr algn="ctr">
              <a:defRPr/>
            </a:pPr>
            <a:r>
              <a:rPr lang="es-ES" sz="1396" b="1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Coste estimado </a:t>
            </a:r>
            <a:r>
              <a:rPr lang="es-ES" sz="1396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del desarrollo de su</a:t>
            </a:r>
          </a:p>
          <a:p>
            <a:pPr algn="ctr">
              <a:defRPr/>
            </a:pPr>
            <a:r>
              <a:rPr lang="es-ES" sz="1396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solución propuesta (€)</a:t>
            </a:r>
          </a:p>
        </p:txBody>
      </p:sp>
      <p:sp>
        <p:nvSpPr>
          <p:cNvPr id="48" name="Forma libre: forma 47">
            <a:extLst>
              <a:ext uri="{FF2B5EF4-FFF2-40B4-BE49-F238E27FC236}">
                <a16:creationId xmlns:a16="http://schemas.microsoft.com/office/drawing/2014/main" id="{B400D762-34D3-42D0-B168-B5DCB7648C13}"/>
              </a:ext>
            </a:extLst>
          </p:cNvPr>
          <p:cNvSpPr/>
          <p:nvPr/>
        </p:nvSpPr>
        <p:spPr>
          <a:xfrm>
            <a:off x="7236497" y="3375114"/>
            <a:ext cx="2288951" cy="2106044"/>
          </a:xfrm>
          <a:custGeom>
            <a:avLst/>
            <a:gdLst>
              <a:gd name="connsiteX0" fmla="*/ 0 w 2125699"/>
              <a:gd name="connsiteY0" fmla="*/ 0 h 1275419"/>
              <a:gd name="connsiteX1" fmla="*/ 2125699 w 2125699"/>
              <a:gd name="connsiteY1" fmla="*/ 0 h 1275419"/>
              <a:gd name="connsiteX2" fmla="*/ 2125699 w 2125699"/>
              <a:gd name="connsiteY2" fmla="*/ 1275419 h 1275419"/>
              <a:gd name="connsiteX3" fmla="*/ 0 w 2125699"/>
              <a:gd name="connsiteY3" fmla="*/ 1275419 h 1275419"/>
              <a:gd name="connsiteX4" fmla="*/ 0 w 2125699"/>
              <a:gd name="connsiteY4" fmla="*/ 0 h 127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9" h="1275419">
                <a:moveTo>
                  <a:pt x="0" y="0"/>
                </a:moveTo>
                <a:lnTo>
                  <a:pt x="2125699" y="0"/>
                </a:lnTo>
                <a:lnTo>
                  <a:pt x="2125699" y="1275419"/>
                </a:lnTo>
                <a:lnTo>
                  <a:pt x="0" y="1275419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spcFirstLastPara="0" vert="horz" wrap="square" lIns="40138" tIns="40138" rIns="40138" bIns="40138" numCol="1" spcCol="1270" anchor="ctr" anchorCtr="0">
            <a:noAutofit/>
          </a:bodyPr>
          <a:lstStyle/>
          <a:p>
            <a:pPr algn="ctr">
              <a:defRPr/>
            </a:pPr>
            <a:r>
              <a:rPr lang="es-ES" sz="1396" b="1" kern="0" dirty="0">
                <a:latin typeface="Arial"/>
                <a:ea typeface="Verdana" panose="020B0604030504040204" pitchFamily="34" charset="0"/>
              </a:rPr>
              <a:t>Elementos de innovación </a:t>
            </a:r>
            <a:r>
              <a:rPr lang="es-ES" sz="1396" kern="0" dirty="0">
                <a:latin typeface="Arial"/>
                <a:ea typeface="Verdana" panose="020B0604030504040204" pitchFamily="34" charset="0"/>
              </a:rPr>
              <a:t>(nuevas tecnologías entregadas y soluciones innovadoras)</a:t>
            </a:r>
          </a:p>
        </p:txBody>
      </p:sp>
      <p:sp>
        <p:nvSpPr>
          <p:cNvPr id="49" name="Forma libre: forma 48">
            <a:extLst>
              <a:ext uri="{FF2B5EF4-FFF2-40B4-BE49-F238E27FC236}">
                <a16:creationId xmlns:a16="http://schemas.microsoft.com/office/drawing/2014/main" id="{150532C6-729C-4D64-A376-44FC8AF04031}"/>
              </a:ext>
            </a:extLst>
          </p:cNvPr>
          <p:cNvSpPr/>
          <p:nvPr/>
        </p:nvSpPr>
        <p:spPr>
          <a:xfrm>
            <a:off x="9579706" y="3375114"/>
            <a:ext cx="2288951" cy="2106044"/>
          </a:xfrm>
          <a:custGeom>
            <a:avLst/>
            <a:gdLst>
              <a:gd name="connsiteX0" fmla="*/ 0 w 2125699"/>
              <a:gd name="connsiteY0" fmla="*/ 0 h 1275419"/>
              <a:gd name="connsiteX1" fmla="*/ 2125699 w 2125699"/>
              <a:gd name="connsiteY1" fmla="*/ 0 h 1275419"/>
              <a:gd name="connsiteX2" fmla="*/ 2125699 w 2125699"/>
              <a:gd name="connsiteY2" fmla="*/ 1275419 h 1275419"/>
              <a:gd name="connsiteX3" fmla="*/ 0 w 2125699"/>
              <a:gd name="connsiteY3" fmla="*/ 1275419 h 1275419"/>
              <a:gd name="connsiteX4" fmla="*/ 0 w 2125699"/>
              <a:gd name="connsiteY4" fmla="*/ 0 h 1275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9" h="1275419">
                <a:moveTo>
                  <a:pt x="0" y="0"/>
                </a:moveTo>
                <a:lnTo>
                  <a:pt x="2125699" y="0"/>
                </a:lnTo>
                <a:lnTo>
                  <a:pt x="2125699" y="1275419"/>
                </a:lnTo>
                <a:lnTo>
                  <a:pt x="0" y="1275419"/>
                </a:lnTo>
                <a:lnTo>
                  <a:pt x="0" y="0"/>
                </a:lnTo>
                <a:close/>
              </a:path>
            </a:pathLst>
          </a:custGeom>
          <a:solidFill>
            <a:srgbClr val="313B4A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spcFirstLastPara="0" vert="horz" wrap="square" lIns="40138" tIns="40138" rIns="40138" bIns="40138" numCol="1" spcCol="1270" anchor="ctr" anchorCtr="0">
            <a:noAutofit/>
          </a:bodyPr>
          <a:lstStyle/>
          <a:p>
            <a:pPr algn="ctr">
              <a:defRPr/>
            </a:pPr>
            <a:r>
              <a:rPr lang="es-ES" sz="1396" b="1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Regulaciones y normativa</a:t>
            </a:r>
            <a:r>
              <a:rPr lang="es-ES" sz="1396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</a:rPr>
              <a:t> asociada a la necesidad planteada</a:t>
            </a:r>
          </a:p>
        </p:txBody>
      </p:sp>
      <p:sp>
        <p:nvSpPr>
          <p:cNvPr id="3" name="Rectángulo 14">
            <a:extLst>
              <a:ext uri="{FF2B5EF4-FFF2-40B4-BE49-F238E27FC236}">
                <a16:creationId xmlns:a16="http://schemas.microsoft.com/office/drawing/2014/main" id="{A0F46167-9A94-B842-C597-1E098B12A878}"/>
              </a:ext>
            </a:extLst>
          </p:cNvPr>
          <p:cNvSpPr/>
          <p:nvPr/>
        </p:nvSpPr>
        <p:spPr>
          <a:xfrm flipV="1">
            <a:off x="1448457" y="10995"/>
            <a:ext cx="596957" cy="76277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94000">
                <a:schemeClr val="accent1">
                  <a:lumMod val="20000"/>
                  <a:lumOff val="80000"/>
                </a:schemeClr>
              </a:gs>
              <a:gs pos="83000">
                <a:schemeClr val="tx1"/>
              </a:gs>
              <a:gs pos="100000">
                <a:schemeClr val="accent4">
                  <a:lumMod val="50000"/>
                </a:schemeClr>
              </a:gs>
            </a:gsLst>
            <a:lin ang="13500000" scaled="1"/>
            <a:tileRect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lang="es-ES" sz="3192" dirty="0">
              <a:solidFill>
                <a:schemeClr val="bg1"/>
              </a:solidFill>
            </a:endParaRPr>
          </a:p>
        </p:txBody>
      </p:sp>
      <p:sp>
        <p:nvSpPr>
          <p:cNvPr id="2" name="Google Shape;207;p24">
            <a:extLst>
              <a:ext uri="{FF2B5EF4-FFF2-40B4-BE49-F238E27FC236}">
                <a16:creationId xmlns:a16="http://schemas.microsoft.com/office/drawing/2014/main" id="{190998BB-CE21-EAA3-5F2E-63D3DD635499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5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910565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36" grpId="0" animBg="1"/>
      <p:bldP spid="42" grpId="0" animBg="1"/>
      <p:bldP spid="45" grpId="0" animBg="1"/>
      <p:bldP spid="46" grpId="0" animBg="1"/>
      <p:bldP spid="47" grpId="0" animBg="1"/>
      <p:bldP spid="48" grpId="0" animBg="1"/>
      <p:bldP spid="4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458F46E1-BF25-4F33-B5DA-67AF83D4DD03}"/>
              </a:ext>
            </a:extLst>
          </p:cNvPr>
          <p:cNvSpPr/>
          <p:nvPr/>
        </p:nvSpPr>
        <p:spPr>
          <a:xfrm flipV="1">
            <a:off x="1643971" y="0"/>
            <a:ext cx="596957" cy="76277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94000">
                <a:schemeClr val="accent1">
                  <a:lumMod val="20000"/>
                  <a:lumOff val="80000"/>
                </a:schemeClr>
              </a:gs>
              <a:gs pos="83000">
                <a:schemeClr val="tx1"/>
              </a:gs>
              <a:gs pos="100000">
                <a:schemeClr val="accent4">
                  <a:lumMod val="50000"/>
                </a:schemeClr>
              </a:gs>
            </a:gsLst>
            <a:lin ang="13500000" scaled="1"/>
            <a:tileRect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lang="es-ES" sz="3192" dirty="0">
              <a:solidFill>
                <a:schemeClr val="bg1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7DA380F-EAEC-4BE8-BA43-977CAD9EAF52}"/>
              </a:ext>
            </a:extLst>
          </p:cNvPr>
          <p:cNvSpPr txBox="1"/>
          <p:nvPr/>
        </p:nvSpPr>
        <p:spPr>
          <a:xfrm>
            <a:off x="2081100" y="132435"/>
            <a:ext cx="9940542" cy="644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202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359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misas de la Consulta Preliminar del Mercado</a:t>
            </a:r>
          </a:p>
        </p:txBody>
      </p:sp>
      <p:sp>
        <p:nvSpPr>
          <p:cNvPr id="65" name="Line">
            <a:extLst>
              <a:ext uri="{FF2B5EF4-FFF2-40B4-BE49-F238E27FC236}">
                <a16:creationId xmlns:a16="http://schemas.microsoft.com/office/drawing/2014/main" id="{CB3F9AD6-33C9-487F-951A-F9CA41DF810C}"/>
              </a:ext>
            </a:extLst>
          </p:cNvPr>
          <p:cNvSpPr/>
          <p:nvPr/>
        </p:nvSpPr>
        <p:spPr>
          <a:xfrm rot="5400000">
            <a:off x="524722" y="2080697"/>
            <a:ext cx="2757893" cy="20936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14" y="21600"/>
                </a:moveTo>
                <a:lnTo>
                  <a:pt x="0" y="21576"/>
                </a:lnTo>
                <a:lnTo>
                  <a:pt x="0" y="0"/>
                </a:lnTo>
                <a:lnTo>
                  <a:pt x="21600" y="0"/>
                </a:lnTo>
                <a:lnTo>
                  <a:pt x="21600" y="21572"/>
                </a:lnTo>
                <a:lnTo>
                  <a:pt x="17530" y="21597"/>
                </a:lnTo>
              </a:path>
            </a:pathLst>
          </a:custGeom>
          <a:gradFill>
            <a:gsLst>
              <a:gs pos="0">
                <a:srgbClr val="5C89A4"/>
              </a:gs>
              <a:gs pos="9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5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5400000" scaled="1"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>
              <a:defRPr sz="3600"/>
            </a:pPr>
            <a:endParaRPr sz="3192">
              <a:solidFill>
                <a:schemeClr val="bg1"/>
              </a:solidFill>
            </a:endParaRPr>
          </a:p>
        </p:txBody>
      </p:sp>
      <p:sp>
        <p:nvSpPr>
          <p:cNvPr id="66" name="Presentations">
            <a:extLst>
              <a:ext uri="{FF2B5EF4-FFF2-40B4-BE49-F238E27FC236}">
                <a16:creationId xmlns:a16="http://schemas.microsoft.com/office/drawing/2014/main" id="{3A4AE442-8CB0-466B-9823-B1C36A638FCD}"/>
              </a:ext>
            </a:extLst>
          </p:cNvPr>
          <p:cNvSpPr txBox="1"/>
          <p:nvPr/>
        </p:nvSpPr>
        <p:spPr>
          <a:xfrm>
            <a:off x="1109356" y="2277595"/>
            <a:ext cx="1666188" cy="198438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334" tIns="25334" rIns="25334" bIns="25334" anchor="ctr">
            <a:spAutoFit/>
          </a:bodyPr>
          <a:lstStyle>
            <a:lvl1pPr algn="l">
              <a:defRPr sz="3200" cap="all" spc="160">
                <a:latin typeface="Lato Bold"/>
                <a:ea typeface="Lato Bold"/>
                <a:cs typeface="Lato Bold"/>
                <a:sym typeface="Lato Bold"/>
              </a:defRPr>
            </a:lvl1pPr>
          </a:lstStyle>
          <a:p>
            <a:pPr algn="ctr" defTabSz="912023">
              <a:defRPr/>
            </a:pPr>
            <a:r>
              <a:rPr lang="es-ES" sz="1396" dirty="0">
                <a:solidFill>
                  <a:schemeClr val="bg1"/>
                </a:solidFill>
                <a:latin typeface="+mn-lt"/>
                <a:ea typeface="Verdana" panose="020B0604030504040204" pitchFamily="34" charset="0"/>
              </a:rPr>
              <a:t>RESPETAR LOS PRINCIPIOS  CONTRACTUALES COMUNITARIOS DE TRASNPARENCIA, IGUALDAD DE TRATO,  Y NO DISCRIMINACIÓN</a:t>
            </a:r>
          </a:p>
        </p:txBody>
      </p:sp>
      <p:sp>
        <p:nvSpPr>
          <p:cNvPr id="68" name="Line">
            <a:extLst>
              <a:ext uri="{FF2B5EF4-FFF2-40B4-BE49-F238E27FC236}">
                <a16:creationId xmlns:a16="http://schemas.microsoft.com/office/drawing/2014/main" id="{2BDFB42A-ECFB-4727-BC35-CA9B0300DB92}"/>
              </a:ext>
            </a:extLst>
          </p:cNvPr>
          <p:cNvSpPr/>
          <p:nvPr/>
        </p:nvSpPr>
        <p:spPr>
          <a:xfrm rot="5400000">
            <a:off x="3388901" y="2088661"/>
            <a:ext cx="2757892" cy="20936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14" y="21600"/>
                </a:moveTo>
                <a:lnTo>
                  <a:pt x="0" y="21576"/>
                </a:lnTo>
                <a:lnTo>
                  <a:pt x="0" y="0"/>
                </a:lnTo>
                <a:lnTo>
                  <a:pt x="21600" y="0"/>
                </a:lnTo>
                <a:lnTo>
                  <a:pt x="21600" y="21572"/>
                </a:lnTo>
                <a:lnTo>
                  <a:pt x="17530" y="21597"/>
                </a:lnTo>
              </a:path>
            </a:pathLst>
          </a:custGeom>
          <a:gradFill>
            <a:gsLst>
              <a:gs pos="0">
                <a:srgbClr val="5C89A4"/>
              </a:gs>
              <a:gs pos="9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5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5400000" scaled="1"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sz="3192">
              <a:solidFill>
                <a:schemeClr val="bg1"/>
              </a:solidFill>
            </a:endParaRPr>
          </a:p>
        </p:txBody>
      </p:sp>
      <p:sp>
        <p:nvSpPr>
          <p:cNvPr id="69" name="Presentations">
            <a:extLst>
              <a:ext uri="{FF2B5EF4-FFF2-40B4-BE49-F238E27FC236}">
                <a16:creationId xmlns:a16="http://schemas.microsoft.com/office/drawing/2014/main" id="{8567D3E8-E7FE-446F-BA3C-4D93615A58C7}"/>
              </a:ext>
            </a:extLst>
          </p:cNvPr>
          <p:cNvSpPr txBox="1"/>
          <p:nvPr/>
        </p:nvSpPr>
        <p:spPr>
          <a:xfrm>
            <a:off x="3973534" y="1963358"/>
            <a:ext cx="1666188" cy="2628792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334" tIns="25334" rIns="25334" bIns="25334" anchor="ctr">
            <a:spAutoFit/>
          </a:bodyPr>
          <a:lstStyle>
            <a:defPPr rtl="0">
              <a:defRPr lang="es-es"/>
            </a:defPPr>
            <a:lvl1pPr algn="ctr" defTabSz="912023">
              <a:defRPr sz="1396" b="1" cap="none" spc="0">
                <a:solidFill>
                  <a:schemeClr val="bg1"/>
                </a:solidFill>
                <a:ea typeface="Verdana" panose="020B0604030504040204" pitchFamily="34" charset="0"/>
                <a:cs typeface="Lato Bold"/>
              </a:defRPr>
            </a:lvl1pPr>
          </a:lstStyle>
          <a:p>
            <a:r>
              <a:rPr lang="es-ES" b="0" i="1" cap="all" spc="160" dirty="0">
                <a:sym typeface="Lato Bold"/>
              </a:rPr>
              <a:t>PARTICIPACIÓN NO OTORGA DERECHO NI PREFERENCIA ALGUNA RESPECTO DE LA ADJUDICACIÓN DE POSTERIORES CONTRATOS QUE PUDIERAN SURGIR DE LA </a:t>
            </a:r>
            <a:r>
              <a:rPr lang="es-ES" b="0" cap="all" spc="160" dirty="0">
                <a:sym typeface="Lato Bold"/>
              </a:rPr>
              <a:t>MISMA</a:t>
            </a:r>
          </a:p>
        </p:txBody>
      </p:sp>
      <p:sp>
        <p:nvSpPr>
          <p:cNvPr id="71" name="Line">
            <a:extLst>
              <a:ext uri="{FF2B5EF4-FFF2-40B4-BE49-F238E27FC236}">
                <a16:creationId xmlns:a16="http://schemas.microsoft.com/office/drawing/2014/main" id="{E6688720-EBCF-45DC-A4DB-1DEAF09D5D48}"/>
              </a:ext>
            </a:extLst>
          </p:cNvPr>
          <p:cNvSpPr/>
          <p:nvPr/>
        </p:nvSpPr>
        <p:spPr>
          <a:xfrm rot="5400000">
            <a:off x="6250246" y="2084679"/>
            <a:ext cx="2765856" cy="20936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14" y="21600"/>
                </a:moveTo>
                <a:lnTo>
                  <a:pt x="0" y="21576"/>
                </a:lnTo>
                <a:lnTo>
                  <a:pt x="0" y="0"/>
                </a:lnTo>
                <a:lnTo>
                  <a:pt x="21600" y="0"/>
                </a:lnTo>
                <a:lnTo>
                  <a:pt x="21600" y="21572"/>
                </a:lnTo>
                <a:lnTo>
                  <a:pt x="17530" y="21597"/>
                </a:lnTo>
              </a:path>
            </a:pathLst>
          </a:custGeom>
          <a:gradFill>
            <a:gsLst>
              <a:gs pos="0">
                <a:srgbClr val="5C89A4"/>
              </a:gs>
              <a:gs pos="9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5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5400000" scaled="1"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sz="3192">
              <a:solidFill>
                <a:schemeClr val="bg1"/>
              </a:solidFill>
            </a:endParaRPr>
          </a:p>
        </p:txBody>
      </p:sp>
      <p:sp>
        <p:nvSpPr>
          <p:cNvPr id="72" name="Presentations">
            <a:extLst>
              <a:ext uri="{FF2B5EF4-FFF2-40B4-BE49-F238E27FC236}">
                <a16:creationId xmlns:a16="http://schemas.microsoft.com/office/drawing/2014/main" id="{F15179E4-DEC7-4CD6-8F3E-4767502B57C1}"/>
              </a:ext>
            </a:extLst>
          </p:cNvPr>
          <p:cNvSpPr txBox="1"/>
          <p:nvPr/>
        </p:nvSpPr>
        <p:spPr>
          <a:xfrm>
            <a:off x="6838861" y="2070762"/>
            <a:ext cx="1666188" cy="2413989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334" tIns="25334" rIns="25334" bIns="25334" anchor="ctr">
            <a:spAutoFit/>
          </a:bodyPr>
          <a:lstStyle>
            <a:defPPr rtl="0">
              <a:defRPr lang="es-es"/>
            </a:defPPr>
            <a:lvl1pPr algn="ctr" defTabSz="912023">
              <a:defRPr sz="1396" b="1" cap="none" spc="0">
                <a:solidFill>
                  <a:schemeClr val="bg1"/>
                </a:solidFill>
                <a:ea typeface="Verdana" panose="020B0604030504040204" pitchFamily="34" charset="0"/>
                <a:cs typeface="Lato Bold"/>
              </a:defRPr>
            </a:lvl1pPr>
          </a:lstStyle>
          <a:p>
            <a:r>
              <a:rPr lang="es-ES" b="0" i="1" cap="all" spc="160" dirty="0"/>
              <a:t>Las licitaciones posteriores que pudieran surgir de la consulta están abiertas a cualquier licitador haya o no participado en la consulta</a:t>
            </a:r>
            <a:endParaRPr lang="es-ES" b="0" cap="all" spc="160" dirty="0"/>
          </a:p>
        </p:txBody>
      </p:sp>
      <p:sp>
        <p:nvSpPr>
          <p:cNvPr id="74" name="Line">
            <a:extLst>
              <a:ext uri="{FF2B5EF4-FFF2-40B4-BE49-F238E27FC236}">
                <a16:creationId xmlns:a16="http://schemas.microsoft.com/office/drawing/2014/main" id="{D78072E2-6B54-4B57-BCCB-125AE3EC8B0F}"/>
              </a:ext>
            </a:extLst>
          </p:cNvPr>
          <p:cNvSpPr/>
          <p:nvPr/>
        </p:nvSpPr>
        <p:spPr>
          <a:xfrm rot="5400000">
            <a:off x="9054123" y="2095655"/>
            <a:ext cx="2787809" cy="20936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14" y="21600"/>
                </a:moveTo>
                <a:lnTo>
                  <a:pt x="0" y="21576"/>
                </a:lnTo>
                <a:lnTo>
                  <a:pt x="0" y="0"/>
                </a:lnTo>
                <a:lnTo>
                  <a:pt x="21600" y="0"/>
                </a:lnTo>
                <a:lnTo>
                  <a:pt x="21600" y="21572"/>
                </a:lnTo>
                <a:lnTo>
                  <a:pt x="17530" y="21597"/>
                </a:lnTo>
              </a:path>
            </a:pathLst>
          </a:custGeom>
          <a:gradFill>
            <a:gsLst>
              <a:gs pos="0">
                <a:srgbClr val="5C89A4"/>
              </a:gs>
              <a:gs pos="9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50000"/>
                </a:schemeClr>
              </a:gs>
              <a:gs pos="100000">
                <a:schemeClr val="accent4">
                  <a:lumMod val="50000"/>
                </a:schemeClr>
              </a:gs>
            </a:gsLst>
            <a:lin ang="5400000" scaled="1"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sz="3192">
              <a:solidFill>
                <a:schemeClr val="bg1"/>
              </a:solidFill>
            </a:endParaRPr>
          </a:p>
        </p:txBody>
      </p:sp>
      <p:sp>
        <p:nvSpPr>
          <p:cNvPr id="75" name="Presentations">
            <a:extLst>
              <a:ext uri="{FF2B5EF4-FFF2-40B4-BE49-F238E27FC236}">
                <a16:creationId xmlns:a16="http://schemas.microsoft.com/office/drawing/2014/main" id="{210561D8-D22D-47B2-AB9A-884EBF4C5F62}"/>
              </a:ext>
            </a:extLst>
          </p:cNvPr>
          <p:cNvSpPr txBox="1"/>
          <p:nvPr/>
        </p:nvSpPr>
        <p:spPr>
          <a:xfrm>
            <a:off x="9653715" y="2414919"/>
            <a:ext cx="1764209" cy="1769582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334" tIns="25334" rIns="25334" bIns="25334" anchor="ctr">
            <a:spAutoFit/>
          </a:bodyPr>
          <a:lstStyle>
            <a:lvl1pPr algn="l">
              <a:defRPr sz="3200" cap="all" spc="160">
                <a:latin typeface="Lato Bold"/>
                <a:ea typeface="Lato Bold"/>
                <a:cs typeface="Lato Bold"/>
                <a:sym typeface="Lato Bold"/>
              </a:defRPr>
            </a:lvl1pPr>
          </a:lstStyle>
          <a:p>
            <a:pPr algn="ctr" defTabSz="912023">
              <a:defRPr/>
            </a:pPr>
            <a:r>
              <a:rPr lang="es-ES" sz="1396" dirty="0">
                <a:solidFill>
                  <a:schemeClr val="bg1"/>
                </a:solidFill>
                <a:latin typeface="+mn-lt"/>
                <a:ea typeface="Verdana" panose="020B0604030504040204" pitchFamily="34" charset="0"/>
              </a:rPr>
              <a:t>El informe final de conclusiones será accesible durante el procedimiento de licitación que en su caso </a:t>
            </a:r>
            <a:r>
              <a:rPr lang="es-ES" sz="1396">
                <a:solidFill>
                  <a:schemeClr val="bg1"/>
                </a:solidFill>
                <a:latin typeface="+mn-lt"/>
                <a:ea typeface="Verdana" panose="020B0604030504040204" pitchFamily="34" charset="0"/>
              </a:rPr>
              <a:t>se realice</a:t>
            </a:r>
            <a:endParaRPr lang="es-ES" sz="1396" dirty="0">
              <a:solidFill>
                <a:schemeClr val="bg1"/>
              </a:solidFill>
              <a:latin typeface="+mn-lt"/>
              <a:ea typeface="Verdana" panose="020B0604030504040204" pitchFamily="34" charset="0"/>
            </a:endParaRPr>
          </a:p>
        </p:txBody>
      </p:sp>
      <p:sp>
        <p:nvSpPr>
          <p:cNvPr id="73" name="1">
            <a:extLst>
              <a:ext uri="{FF2B5EF4-FFF2-40B4-BE49-F238E27FC236}">
                <a16:creationId xmlns:a16="http://schemas.microsoft.com/office/drawing/2014/main" id="{7FED8E54-1E45-4C2B-AD7B-1DFED7DED4EC}"/>
              </a:ext>
            </a:extLst>
          </p:cNvPr>
          <p:cNvSpPr txBox="1"/>
          <p:nvPr/>
        </p:nvSpPr>
        <p:spPr>
          <a:xfrm>
            <a:off x="8757547" y="2065265"/>
            <a:ext cx="898641" cy="247906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334" tIns="25334" rIns="25334" bIns="25334" anchor="ctr"/>
          <a:lstStyle>
            <a:lvl1pPr>
              <a:defRPr sz="30000" cap="all">
                <a:latin typeface="Lato Hairline"/>
                <a:ea typeface="Lato Hairline"/>
                <a:cs typeface="Lato Hairline"/>
                <a:sym typeface="Lato Hairline"/>
              </a:defRPr>
            </a:lvl1pPr>
          </a:lstStyle>
          <a:p>
            <a:pPr defTabSz="912023"/>
            <a:r>
              <a:rPr lang="es-ES" sz="12468" dirty="0">
                <a:latin typeface="+mn-lt"/>
              </a:rPr>
              <a:t>4</a:t>
            </a:r>
            <a:endParaRPr sz="12468" dirty="0">
              <a:latin typeface="+mn-lt"/>
            </a:endParaRPr>
          </a:p>
        </p:txBody>
      </p:sp>
      <p:sp>
        <p:nvSpPr>
          <p:cNvPr id="70" name="1">
            <a:extLst>
              <a:ext uri="{FF2B5EF4-FFF2-40B4-BE49-F238E27FC236}">
                <a16:creationId xmlns:a16="http://schemas.microsoft.com/office/drawing/2014/main" id="{98252F99-93E8-4A08-80A1-93EA95FB1426}"/>
              </a:ext>
            </a:extLst>
          </p:cNvPr>
          <p:cNvSpPr txBox="1"/>
          <p:nvPr/>
        </p:nvSpPr>
        <p:spPr>
          <a:xfrm>
            <a:off x="5942692" y="2043313"/>
            <a:ext cx="898641" cy="247906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334" tIns="25334" rIns="25334" bIns="25334" anchor="ctr"/>
          <a:lstStyle>
            <a:lvl1pPr>
              <a:defRPr sz="30000" cap="all">
                <a:latin typeface="Lato Hairline"/>
                <a:ea typeface="Lato Hairline"/>
                <a:cs typeface="Lato Hairline"/>
                <a:sym typeface="Lato Hairline"/>
              </a:defRPr>
            </a:lvl1pPr>
          </a:lstStyle>
          <a:p>
            <a:pPr defTabSz="912023"/>
            <a:r>
              <a:rPr lang="es-ES" sz="12468" dirty="0">
                <a:latin typeface="+mn-lt"/>
              </a:rPr>
              <a:t>3</a:t>
            </a:r>
            <a:endParaRPr sz="12468" dirty="0">
              <a:latin typeface="+mn-lt"/>
            </a:endParaRPr>
          </a:p>
        </p:txBody>
      </p:sp>
      <p:sp>
        <p:nvSpPr>
          <p:cNvPr id="67" name="1">
            <a:extLst>
              <a:ext uri="{FF2B5EF4-FFF2-40B4-BE49-F238E27FC236}">
                <a16:creationId xmlns:a16="http://schemas.microsoft.com/office/drawing/2014/main" id="{5EE23AA9-CEEC-44EB-B5F3-A09855063591}"/>
              </a:ext>
            </a:extLst>
          </p:cNvPr>
          <p:cNvSpPr txBox="1"/>
          <p:nvPr/>
        </p:nvSpPr>
        <p:spPr>
          <a:xfrm>
            <a:off x="3077365" y="2043313"/>
            <a:ext cx="898641" cy="247906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334" tIns="25334" rIns="25334" bIns="25334" anchor="ctr"/>
          <a:lstStyle>
            <a:lvl1pPr>
              <a:defRPr sz="30000" cap="all">
                <a:latin typeface="Lato Hairline"/>
                <a:ea typeface="Lato Hairline"/>
                <a:cs typeface="Lato Hairline"/>
                <a:sym typeface="Lato Hairline"/>
              </a:defRPr>
            </a:lvl1pPr>
          </a:lstStyle>
          <a:p>
            <a:pPr defTabSz="912023"/>
            <a:r>
              <a:rPr lang="es-ES" sz="12468" dirty="0">
                <a:latin typeface="+mn-lt"/>
              </a:rPr>
              <a:t>2</a:t>
            </a:r>
            <a:endParaRPr sz="12468" dirty="0">
              <a:latin typeface="+mn-lt"/>
            </a:endParaRPr>
          </a:p>
        </p:txBody>
      </p:sp>
      <p:sp>
        <p:nvSpPr>
          <p:cNvPr id="64" name="1">
            <a:extLst>
              <a:ext uri="{FF2B5EF4-FFF2-40B4-BE49-F238E27FC236}">
                <a16:creationId xmlns:a16="http://schemas.microsoft.com/office/drawing/2014/main" id="{6857D233-18C5-4C58-AE2A-17788C46B659}"/>
              </a:ext>
            </a:extLst>
          </p:cNvPr>
          <p:cNvSpPr txBox="1"/>
          <p:nvPr/>
        </p:nvSpPr>
        <p:spPr>
          <a:xfrm>
            <a:off x="213188" y="2035350"/>
            <a:ext cx="898641" cy="2479064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334" tIns="25334" rIns="25334" bIns="25334" anchor="ctr"/>
          <a:lstStyle>
            <a:lvl1pPr>
              <a:defRPr sz="30000" cap="all">
                <a:latin typeface="Lato Hairline"/>
                <a:ea typeface="Lato Hairline"/>
                <a:cs typeface="Lato Hairline"/>
                <a:sym typeface="Lato Hairline"/>
              </a:defRPr>
            </a:lvl1pPr>
          </a:lstStyle>
          <a:p>
            <a:pPr defTabSz="912023"/>
            <a:r>
              <a:rPr lang="es-ES" sz="12468" dirty="0">
                <a:latin typeface="+mn-lt"/>
              </a:rPr>
              <a:t>1</a:t>
            </a:r>
            <a:endParaRPr sz="12468" dirty="0">
              <a:latin typeface="+mn-lt"/>
            </a:endParaRPr>
          </a:p>
        </p:txBody>
      </p:sp>
      <p:sp>
        <p:nvSpPr>
          <p:cNvPr id="2" name="Google Shape;207;p24">
            <a:extLst>
              <a:ext uri="{FF2B5EF4-FFF2-40B4-BE49-F238E27FC236}">
                <a16:creationId xmlns:a16="http://schemas.microsoft.com/office/drawing/2014/main" id="{47110CE4-3760-E095-A4D2-7F81A74AAD94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6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3208138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5DA86EC9-8A74-4530-B5A2-798E7C8510E6}"/>
              </a:ext>
            </a:extLst>
          </p:cNvPr>
          <p:cNvSpPr txBox="1"/>
          <p:nvPr/>
        </p:nvSpPr>
        <p:spPr>
          <a:xfrm>
            <a:off x="548729" y="1634037"/>
            <a:ext cx="815821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rtl="0">
              <a:defRPr lang="es-es"/>
            </a:defPPr>
            <a:lvl1pPr defTabSz="912023" fontAlgn="base">
              <a:spcBef>
                <a:spcPct val="0"/>
              </a:spcBef>
              <a:spcAft>
                <a:spcPct val="0"/>
              </a:spcAft>
              <a:defRPr sz="3192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utura PT Book" panose="020B0502020204020303" pitchFamily="34" charset="0"/>
              </a:defRPr>
            </a:lvl1pPr>
          </a:lstStyle>
          <a:p>
            <a:pPr marL="571500" indent="-571500">
              <a:buAutoNum type="romanUcPeriod"/>
            </a:pPr>
            <a:r>
              <a:rPr lang="es-ES" sz="2800" b="0" dirty="0">
                <a:solidFill>
                  <a:schemeClr val="tx2">
                    <a:lumMod val="60000"/>
                    <a:lumOff val="40000"/>
                  </a:schemeClr>
                </a:solidFill>
                <a:latin typeface="Montserrat" panose="00000500000000000000" pitchFamily="2" charset="0"/>
              </a:rPr>
              <a:t>La Consulta Preliminar al Mercado</a:t>
            </a:r>
          </a:p>
          <a:p>
            <a:r>
              <a:rPr lang="es-ES" sz="2800" b="0" dirty="0">
                <a:latin typeface="Montserrat" panose="00000500000000000000" pitchFamily="2" charset="0"/>
              </a:rPr>
              <a:t>II. Cómo participar en la Consulta</a:t>
            </a:r>
          </a:p>
        </p:txBody>
      </p:sp>
      <p:sp>
        <p:nvSpPr>
          <p:cNvPr id="3" name="Google Shape;207;p24">
            <a:extLst>
              <a:ext uri="{FF2B5EF4-FFF2-40B4-BE49-F238E27FC236}">
                <a16:creationId xmlns:a16="http://schemas.microsoft.com/office/drawing/2014/main" id="{4540FAB8-0121-9CD3-F2A9-37CCD5E3E026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7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1529137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adroTexto 15">
            <a:extLst>
              <a:ext uri="{FF2B5EF4-FFF2-40B4-BE49-F238E27FC236}">
                <a16:creationId xmlns:a16="http://schemas.microsoft.com/office/drawing/2014/main" id="{C7DA380F-EAEC-4BE8-BA43-977CAD9EAF52}"/>
              </a:ext>
            </a:extLst>
          </p:cNvPr>
          <p:cNvSpPr txBox="1"/>
          <p:nvPr/>
        </p:nvSpPr>
        <p:spPr>
          <a:xfrm>
            <a:off x="2158520" y="199049"/>
            <a:ext cx="3586238" cy="6449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rtl="0">
              <a:defRPr lang="es-es"/>
            </a:defPPr>
            <a:lvl1pPr defTabSz="912023" fontAlgn="base">
              <a:spcBef>
                <a:spcPct val="0"/>
              </a:spcBef>
              <a:spcAft>
                <a:spcPct val="0"/>
              </a:spcAft>
              <a:defRPr sz="359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s-ES" dirty="0"/>
              <a:t>Momentos clave</a:t>
            </a:r>
          </a:p>
        </p:txBody>
      </p:sp>
      <p:cxnSp>
        <p:nvCxnSpPr>
          <p:cNvPr id="29" name="Conector recto de flecha 28">
            <a:extLst>
              <a:ext uri="{FF2B5EF4-FFF2-40B4-BE49-F238E27FC236}">
                <a16:creationId xmlns:a16="http://schemas.microsoft.com/office/drawing/2014/main" id="{B8710492-A388-45B5-932B-42A643A3F88B}"/>
              </a:ext>
            </a:extLst>
          </p:cNvPr>
          <p:cNvCxnSpPr>
            <a:cxnSpLocks/>
          </p:cNvCxnSpPr>
          <p:nvPr/>
        </p:nvCxnSpPr>
        <p:spPr bwMode="auto">
          <a:xfrm>
            <a:off x="0" y="3000658"/>
            <a:ext cx="12105445" cy="0"/>
          </a:xfrm>
          <a:prstGeom prst="straightConnector1">
            <a:avLst/>
          </a:prstGeom>
          <a:solidFill>
            <a:srgbClr val="00B8FF"/>
          </a:solidFill>
          <a:ln w="571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99AA0BBA-EB37-48EE-A4D3-3E84130590FE}"/>
              </a:ext>
            </a:extLst>
          </p:cNvPr>
          <p:cNvSpPr/>
          <p:nvPr/>
        </p:nvSpPr>
        <p:spPr bwMode="auto">
          <a:xfrm>
            <a:off x="226972" y="4822612"/>
            <a:ext cx="2457191" cy="62693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202" tIns="45601" rIns="91202" bIns="45601" numCol="1" rtlCol="0" anchor="ctr" anchorCtr="0" compatLnSpc="1">
            <a:prstTxWarp prst="textNoShape">
              <a:avLst/>
            </a:prstTxWarp>
          </a:bodyPr>
          <a:lstStyle/>
          <a:p>
            <a:pPr algn="ctr"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100" b="1" dirty="0">
                <a:latin typeface="Montserrat" panose="00000500000000000000" pitchFamily="2" charset="0"/>
                <a:ea typeface="Microsoft YaHei" charset="-122"/>
              </a:rPr>
              <a:t>Anuncio Bases de la CPM</a:t>
            </a:r>
          </a:p>
          <a:p>
            <a:pPr algn="ctr"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100" b="1" dirty="0">
                <a:latin typeface="Montserrat" panose="00000500000000000000" pitchFamily="2" charset="0"/>
                <a:ea typeface="Microsoft YaHei" charset="-122"/>
              </a:rPr>
              <a:t>12/12/23</a:t>
            </a: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147D0A28-4A29-42C5-9DB6-BF3BE17D9D68}"/>
              </a:ext>
            </a:extLst>
          </p:cNvPr>
          <p:cNvSpPr/>
          <p:nvPr/>
        </p:nvSpPr>
        <p:spPr bwMode="auto">
          <a:xfrm>
            <a:off x="1455568" y="2844029"/>
            <a:ext cx="301362" cy="313258"/>
          </a:xfrm>
          <a:prstGeom prst="ellipse">
            <a:avLst/>
          </a:prstGeom>
          <a:solidFill>
            <a:srgbClr val="0070C0"/>
          </a:solidFill>
          <a:ln w="571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2" tIns="45601" rIns="91202" bIns="45601" numCol="1" rtlCol="0" anchor="t" anchorCtr="0" compatLnSpc="1">
            <a:prstTxWarp prst="textNoShape">
              <a:avLst/>
            </a:prstTxWarp>
          </a:bodyPr>
          <a:lstStyle/>
          <a:p>
            <a:pPr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s-ES" sz="1200">
              <a:solidFill>
                <a:schemeClr val="bg1"/>
              </a:solidFill>
              <a:latin typeface="Montserrat" panose="00000500000000000000" pitchFamily="2" charset="0"/>
              <a:ea typeface="Microsoft YaHei" charset="-122"/>
            </a:endParaRPr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4B098DDA-E391-4D3C-A959-329F313C6823}"/>
              </a:ext>
            </a:extLst>
          </p:cNvPr>
          <p:cNvSpPr/>
          <p:nvPr/>
        </p:nvSpPr>
        <p:spPr bwMode="auto">
          <a:xfrm>
            <a:off x="2400632" y="2844029"/>
            <a:ext cx="301362" cy="313258"/>
          </a:xfrm>
          <a:prstGeom prst="ellipse">
            <a:avLst/>
          </a:prstGeom>
          <a:solidFill>
            <a:srgbClr val="0070C0"/>
          </a:solidFill>
          <a:ln w="571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2" tIns="45601" rIns="91202" bIns="45601" numCol="1" rtlCol="0" anchor="t" anchorCtr="0" compatLnSpc="1">
            <a:prstTxWarp prst="textNoShape">
              <a:avLst/>
            </a:prstTxWarp>
          </a:bodyPr>
          <a:lstStyle/>
          <a:p>
            <a:pPr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s-ES" sz="1200">
              <a:solidFill>
                <a:schemeClr val="bg1"/>
              </a:solidFill>
              <a:latin typeface="Montserrat" panose="00000500000000000000" pitchFamily="2" charset="0"/>
              <a:ea typeface="Microsoft YaHei" charset="-122"/>
            </a:endParaRPr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id="{19DBBC0E-5991-4E87-BE5D-1D707A40A85C}"/>
              </a:ext>
            </a:extLst>
          </p:cNvPr>
          <p:cNvSpPr/>
          <p:nvPr/>
        </p:nvSpPr>
        <p:spPr bwMode="auto">
          <a:xfrm>
            <a:off x="4241852" y="2842760"/>
            <a:ext cx="301362" cy="313258"/>
          </a:xfrm>
          <a:prstGeom prst="ellipse">
            <a:avLst/>
          </a:prstGeom>
          <a:solidFill>
            <a:srgbClr val="0070C0"/>
          </a:solidFill>
          <a:ln w="571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2" tIns="45601" rIns="91202" bIns="45601" numCol="1" rtlCol="0" anchor="t" anchorCtr="0" compatLnSpc="1">
            <a:prstTxWarp prst="textNoShape">
              <a:avLst/>
            </a:prstTxWarp>
          </a:bodyPr>
          <a:lstStyle/>
          <a:p>
            <a:pPr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s-ES" sz="1200">
              <a:solidFill>
                <a:schemeClr val="bg1"/>
              </a:solidFill>
              <a:latin typeface="Montserrat" panose="00000500000000000000" pitchFamily="2" charset="0"/>
              <a:ea typeface="Microsoft YaHei" charset="-122"/>
            </a:endParaRPr>
          </a:p>
        </p:txBody>
      </p:sp>
      <p:sp>
        <p:nvSpPr>
          <p:cNvPr id="46" name="Rectángulo: esquinas redondeadas 45">
            <a:extLst>
              <a:ext uri="{FF2B5EF4-FFF2-40B4-BE49-F238E27FC236}">
                <a16:creationId xmlns:a16="http://schemas.microsoft.com/office/drawing/2014/main" id="{AD63DD84-D4E8-4237-8D98-195684FF1FC4}"/>
              </a:ext>
            </a:extLst>
          </p:cNvPr>
          <p:cNvSpPr/>
          <p:nvPr/>
        </p:nvSpPr>
        <p:spPr bwMode="auto">
          <a:xfrm>
            <a:off x="3461452" y="4872308"/>
            <a:ext cx="2457191" cy="62693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202" tIns="45601" rIns="91202" bIns="45601" numCol="1" rtlCol="0" anchor="t" anchorCtr="0" compatLnSpc="1">
            <a:prstTxWarp prst="textNoShape">
              <a:avLst/>
            </a:prstTxWarp>
          </a:bodyPr>
          <a:lstStyle/>
          <a:p>
            <a:pPr algn="ctr" defTabSz="448095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100" b="1" dirty="0">
                <a:latin typeface="Montserrat" panose="00000500000000000000" pitchFamily="2" charset="0"/>
                <a:ea typeface="Microsoft YaHei" charset="-122"/>
              </a:rPr>
              <a:t>09/02/2024</a:t>
            </a:r>
          </a:p>
          <a:p>
            <a:pPr algn="ctr" defTabSz="448095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100" b="1" dirty="0">
                <a:latin typeface="Montserrat" panose="00000500000000000000" pitchFamily="2" charset="0"/>
                <a:ea typeface="Microsoft YaHei" charset="-122"/>
              </a:rPr>
              <a:t>Fin plazo presentación propuestas</a:t>
            </a:r>
          </a:p>
        </p:txBody>
      </p:sp>
      <p:sp>
        <p:nvSpPr>
          <p:cNvPr id="47" name="Rectángulo: esquinas redondeadas 46">
            <a:extLst>
              <a:ext uri="{FF2B5EF4-FFF2-40B4-BE49-F238E27FC236}">
                <a16:creationId xmlns:a16="http://schemas.microsoft.com/office/drawing/2014/main" id="{141F27E9-8018-4E4F-ABFE-3BEAAE8EAE1B}"/>
              </a:ext>
            </a:extLst>
          </p:cNvPr>
          <p:cNvSpPr/>
          <p:nvPr/>
        </p:nvSpPr>
        <p:spPr bwMode="auto">
          <a:xfrm>
            <a:off x="4789063" y="2709209"/>
            <a:ext cx="1911391" cy="62693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202" tIns="45601" rIns="91202" bIns="45601" numCol="1" rtlCol="0" anchor="ctr" anchorCtr="0" compatLnSpc="1">
            <a:prstTxWarp prst="textNoShape">
              <a:avLst/>
            </a:prstTxWarp>
          </a:bodyPr>
          <a:lstStyle/>
          <a:p>
            <a:pPr algn="ctr"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100" b="1" dirty="0">
                <a:latin typeface="Montserrat" panose="00000500000000000000" pitchFamily="2" charset="0"/>
                <a:ea typeface="Microsoft YaHei" charset="-122"/>
              </a:rPr>
              <a:t>Análisis de propuestas</a:t>
            </a:r>
          </a:p>
        </p:txBody>
      </p:sp>
      <p:sp>
        <p:nvSpPr>
          <p:cNvPr id="48" name="Elipse 47">
            <a:extLst>
              <a:ext uri="{FF2B5EF4-FFF2-40B4-BE49-F238E27FC236}">
                <a16:creationId xmlns:a16="http://schemas.microsoft.com/office/drawing/2014/main" id="{D11A7D3E-C63C-4400-A85F-8E4D7359076A}"/>
              </a:ext>
            </a:extLst>
          </p:cNvPr>
          <p:cNvSpPr/>
          <p:nvPr/>
        </p:nvSpPr>
        <p:spPr bwMode="auto">
          <a:xfrm>
            <a:off x="7028136" y="2842760"/>
            <a:ext cx="301362" cy="313258"/>
          </a:xfrm>
          <a:prstGeom prst="ellipse">
            <a:avLst/>
          </a:prstGeom>
          <a:solidFill>
            <a:srgbClr val="0070C0"/>
          </a:solidFill>
          <a:ln w="571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2" tIns="45601" rIns="91202" bIns="45601" numCol="1" rtlCol="0" anchor="t" anchorCtr="0" compatLnSpc="1">
            <a:prstTxWarp prst="textNoShape">
              <a:avLst/>
            </a:prstTxWarp>
          </a:bodyPr>
          <a:lstStyle/>
          <a:p>
            <a:pPr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s-ES" sz="1200">
              <a:solidFill>
                <a:schemeClr val="bg1"/>
              </a:solidFill>
              <a:latin typeface="Montserrat" panose="00000500000000000000" pitchFamily="2" charset="0"/>
              <a:ea typeface="Microsoft YaHei" charset="-122"/>
            </a:endParaRPr>
          </a:p>
        </p:txBody>
      </p:sp>
      <p:sp>
        <p:nvSpPr>
          <p:cNvPr id="49" name="Rectángulo: esquinas redondeadas 48">
            <a:extLst>
              <a:ext uri="{FF2B5EF4-FFF2-40B4-BE49-F238E27FC236}">
                <a16:creationId xmlns:a16="http://schemas.microsoft.com/office/drawing/2014/main" id="{D94C2FF8-75A7-46BD-9651-866C5ED45629}"/>
              </a:ext>
            </a:extLst>
          </p:cNvPr>
          <p:cNvSpPr/>
          <p:nvPr/>
        </p:nvSpPr>
        <p:spPr bwMode="auto">
          <a:xfrm>
            <a:off x="7503030" y="2685924"/>
            <a:ext cx="2123359" cy="62693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202" tIns="45601" rIns="91202" bIns="45601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s-ES" sz="1100" b="1" dirty="0">
                <a:latin typeface="Montserrat" panose="00000500000000000000" pitchFamily="2" charset="0"/>
                <a:ea typeface="Microsoft YaHei" charset="-122"/>
              </a:rPr>
              <a:t>Entrevistas</a:t>
            </a:r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id="{3451B2BA-20F7-495D-856D-C6F33B2B9391}"/>
              </a:ext>
            </a:extLst>
          </p:cNvPr>
          <p:cNvSpPr/>
          <p:nvPr/>
        </p:nvSpPr>
        <p:spPr bwMode="auto">
          <a:xfrm>
            <a:off x="9927914" y="2842760"/>
            <a:ext cx="301362" cy="313258"/>
          </a:xfrm>
          <a:prstGeom prst="ellipse">
            <a:avLst/>
          </a:prstGeom>
          <a:solidFill>
            <a:srgbClr val="0070C0"/>
          </a:solidFill>
          <a:ln w="571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2" tIns="45601" rIns="91202" bIns="45601" numCol="1" rtlCol="0" anchor="t" anchorCtr="0" compatLnSpc="1">
            <a:prstTxWarp prst="textNoShape">
              <a:avLst/>
            </a:prstTxWarp>
          </a:bodyPr>
          <a:lstStyle/>
          <a:p>
            <a:pPr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s-ES" sz="1200">
              <a:solidFill>
                <a:schemeClr val="bg1"/>
              </a:solidFill>
              <a:latin typeface="Montserrat" panose="00000500000000000000" pitchFamily="2" charset="0"/>
              <a:ea typeface="Microsoft YaHei" charset="-122"/>
            </a:endParaRPr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id="{982BF4D7-49EE-4F80-9DAD-EF2F55D49D58}"/>
              </a:ext>
            </a:extLst>
          </p:cNvPr>
          <p:cNvSpPr/>
          <p:nvPr/>
        </p:nvSpPr>
        <p:spPr bwMode="auto">
          <a:xfrm>
            <a:off x="11304188" y="2826340"/>
            <a:ext cx="301362" cy="313258"/>
          </a:xfrm>
          <a:prstGeom prst="ellipse">
            <a:avLst/>
          </a:prstGeom>
          <a:solidFill>
            <a:srgbClr val="0070C0"/>
          </a:solidFill>
          <a:ln w="571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2" tIns="45601" rIns="91202" bIns="45601" numCol="1" rtlCol="0" anchor="t" anchorCtr="0" compatLnSpc="1">
            <a:prstTxWarp prst="textNoShape">
              <a:avLst/>
            </a:prstTxWarp>
          </a:bodyPr>
          <a:lstStyle/>
          <a:p>
            <a:pPr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s-ES" sz="1200">
              <a:solidFill>
                <a:schemeClr val="bg1"/>
              </a:solidFill>
              <a:latin typeface="Montserrat" panose="00000500000000000000" pitchFamily="2" charset="0"/>
              <a:ea typeface="Microsoft YaHei" charset="-122"/>
            </a:endParaRPr>
          </a:p>
        </p:txBody>
      </p:sp>
      <p:sp>
        <p:nvSpPr>
          <p:cNvPr id="52" name="Rectángulo: esquinas redondeadas 51">
            <a:extLst>
              <a:ext uri="{FF2B5EF4-FFF2-40B4-BE49-F238E27FC236}">
                <a16:creationId xmlns:a16="http://schemas.microsoft.com/office/drawing/2014/main" id="{0FE77C86-9569-490C-B5EC-E9CF9FA064E4}"/>
              </a:ext>
            </a:extLst>
          </p:cNvPr>
          <p:cNvSpPr/>
          <p:nvPr/>
        </p:nvSpPr>
        <p:spPr bwMode="auto">
          <a:xfrm>
            <a:off x="9988960" y="3593048"/>
            <a:ext cx="2102742" cy="7410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202" tIns="0" rIns="91202" bIns="45601" numCol="1" rtlCol="0" anchor="t" anchorCtr="0" compatLnSpc="1">
            <a:prstTxWarp prst="textNoShape">
              <a:avLst/>
            </a:prstTxWarp>
          </a:bodyPr>
          <a:lstStyle/>
          <a:p>
            <a:pPr algn="ctr"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400" dirty="0">
                <a:latin typeface="Montserrat" panose="00000500000000000000" pitchFamily="2" charset="0"/>
                <a:ea typeface="Microsoft YaHei" charset="-122"/>
              </a:rPr>
              <a:t>Jornada presentación</a:t>
            </a:r>
          </a:p>
          <a:p>
            <a:pPr algn="ctr"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400" dirty="0">
                <a:latin typeface="Montserrat" panose="00000500000000000000" pitchFamily="2" charset="0"/>
                <a:ea typeface="Microsoft YaHei" charset="-122"/>
              </a:rPr>
              <a:t>Marzo-Abril 24</a:t>
            </a:r>
          </a:p>
        </p:txBody>
      </p: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3DF6DA99-5124-499D-9649-B9005662F565}"/>
              </a:ext>
            </a:extLst>
          </p:cNvPr>
          <p:cNvCxnSpPr>
            <a:stCxn id="60" idx="2"/>
            <a:endCxn id="31" idx="0"/>
          </p:cNvCxnSpPr>
          <p:nvPr/>
        </p:nvCxnSpPr>
        <p:spPr bwMode="auto">
          <a:xfrm flipH="1">
            <a:off x="1606250" y="1803551"/>
            <a:ext cx="1" cy="1040478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Conector recto 53">
            <a:extLst>
              <a:ext uri="{FF2B5EF4-FFF2-40B4-BE49-F238E27FC236}">
                <a16:creationId xmlns:a16="http://schemas.microsoft.com/office/drawing/2014/main" id="{636BCDA5-9D8D-43B2-8E01-CD5E765F54ED}"/>
              </a:ext>
            </a:extLst>
          </p:cNvPr>
          <p:cNvCxnSpPr>
            <a:cxnSpLocks/>
          </p:cNvCxnSpPr>
          <p:nvPr/>
        </p:nvCxnSpPr>
        <p:spPr bwMode="auto">
          <a:xfrm>
            <a:off x="1446332" y="3074351"/>
            <a:ext cx="1" cy="1724264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Conector recto 54">
            <a:extLst>
              <a:ext uri="{FF2B5EF4-FFF2-40B4-BE49-F238E27FC236}">
                <a16:creationId xmlns:a16="http://schemas.microsoft.com/office/drawing/2014/main" id="{C2C977B6-4BA3-4CBF-AC6C-48E18BEE76A4}"/>
              </a:ext>
            </a:extLst>
          </p:cNvPr>
          <p:cNvCxnSpPr>
            <a:cxnSpLocks/>
          </p:cNvCxnSpPr>
          <p:nvPr/>
        </p:nvCxnSpPr>
        <p:spPr bwMode="auto">
          <a:xfrm>
            <a:off x="2551312" y="3139598"/>
            <a:ext cx="0" cy="504866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Conector recto 55">
            <a:extLst>
              <a:ext uri="{FF2B5EF4-FFF2-40B4-BE49-F238E27FC236}">
                <a16:creationId xmlns:a16="http://schemas.microsoft.com/office/drawing/2014/main" id="{712D6A80-10DF-49C8-9865-995080F7DB52}"/>
              </a:ext>
            </a:extLst>
          </p:cNvPr>
          <p:cNvCxnSpPr>
            <a:cxnSpLocks/>
          </p:cNvCxnSpPr>
          <p:nvPr/>
        </p:nvCxnSpPr>
        <p:spPr bwMode="auto">
          <a:xfrm>
            <a:off x="4384338" y="3141518"/>
            <a:ext cx="0" cy="1740033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Conector recto 56">
            <a:extLst>
              <a:ext uri="{FF2B5EF4-FFF2-40B4-BE49-F238E27FC236}">
                <a16:creationId xmlns:a16="http://schemas.microsoft.com/office/drawing/2014/main" id="{762FDFAE-448F-4DD6-AE9E-FA418F5A2985}"/>
              </a:ext>
            </a:extLst>
          </p:cNvPr>
          <p:cNvCxnSpPr>
            <a:cxnSpLocks/>
            <a:endCxn id="48" idx="0"/>
          </p:cNvCxnSpPr>
          <p:nvPr/>
        </p:nvCxnSpPr>
        <p:spPr bwMode="auto">
          <a:xfrm>
            <a:off x="7178817" y="1527396"/>
            <a:ext cx="1" cy="1315365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8" name="Rectángulo: esquinas redondeadas 57">
            <a:extLst>
              <a:ext uri="{FF2B5EF4-FFF2-40B4-BE49-F238E27FC236}">
                <a16:creationId xmlns:a16="http://schemas.microsoft.com/office/drawing/2014/main" id="{7A1B1D57-05C4-4375-B07F-9EB1A76D21A0}"/>
              </a:ext>
            </a:extLst>
          </p:cNvPr>
          <p:cNvSpPr/>
          <p:nvPr/>
        </p:nvSpPr>
        <p:spPr bwMode="auto">
          <a:xfrm>
            <a:off x="6206461" y="1195664"/>
            <a:ext cx="1845213" cy="62693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202" tIns="45601" rIns="91202" bIns="45601" numCol="1" rtlCol="0" anchor="ctr" anchorCtr="0" compatLnSpc="1">
            <a:prstTxWarp prst="textNoShape">
              <a:avLst/>
            </a:prstTxWarp>
          </a:bodyPr>
          <a:lstStyle/>
          <a:p>
            <a:pPr algn="ctr"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100" b="1" dirty="0">
                <a:latin typeface="Montserrat" panose="00000500000000000000" pitchFamily="2" charset="0"/>
                <a:ea typeface="Microsoft YaHei" charset="-122"/>
              </a:rPr>
              <a:t>Convocatoria entrevistas</a:t>
            </a:r>
          </a:p>
        </p:txBody>
      </p:sp>
      <p:sp>
        <p:nvSpPr>
          <p:cNvPr id="59" name="Rectángulo: esquinas redondeadas 58">
            <a:extLst>
              <a:ext uri="{FF2B5EF4-FFF2-40B4-BE49-F238E27FC236}">
                <a16:creationId xmlns:a16="http://schemas.microsoft.com/office/drawing/2014/main" id="{4FE0D896-8129-4613-8317-A0E87C139295}"/>
              </a:ext>
            </a:extLst>
          </p:cNvPr>
          <p:cNvSpPr/>
          <p:nvPr/>
        </p:nvSpPr>
        <p:spPr bwMode="auto">
          <a:xfrm>
            <a:off x="2171291" y="3430339"/>
            <a:ext cx="1845213" cy="62693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202" tIns="45601" rIns="91202" bIns="45601" numCol="1" rtlCol="0" anchor="ctr" anchorCtr="0" compatLnSpc="1">
            <a:prstTxWarp prst="textNoShape">
              <a:avLst/>
            </a:prstTxWarp>
          </a:bodyPr>
          <a:lstStyle/>
          <a:p>
            <a:pPr algn="ctr" defTabSz="448095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200" b="1" dirty="0">
                <a:latin typeface="Montserrat" panose="00000500000000000000" pitchFamily="2" charset="0"/>
                <a:ea typeface="Microsoft YaHei" charset="-122"/>
              </a:rPr>
              <a:t>Taller técnico CPM</a:t>
            </a:r>
          </a:p>
          <a:p>
            <a:pPr algn="ctr" defTabSz="448095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200" b="1" dirty="0">
                <a:latin typeface="Montserrat" panose="00000500000000000000" pitchFamily="2" charset="0"/>
                <a:ea typeface="Microsoft YaHei" charset="-122"/>
              </a:rPr>
              <a:t>19/12/23</a:t>
            </a:r>
          </a:p>
        </p:txBody>
      </p:sp>
      <p:sp>
        <p:nvSpPr>
          <p:cNvPr id="60" name="Rectángulo: esquinas redondeadas 59">
            <a:extLst>
              <a:ext uri="{FF2B5EF4-FFF2-40B4-BE49-F238E27FC236}">
                <a16:creationId xmlns:a16="http://schemas.microsoft.com/office/drawing/2014/main" id="{7D85299F-C392-411F-8A8D-692E95F0CDA7}"/>
              </a:ext>
            </a:extLst>
          </p:cNvPr>
          <p:cNvSpPr/>
          <p:nvPr/>
        </p:nvSpPr>
        <p:spPr bwMode="auto">
          <a:xfrm>
            <a:off x="377655" y="1176621"/>
            <a:ext cx="2457191" cy="62693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381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202" tIns="45601" rIns="91202" bIns="45601" numCol="1" rtlCol="0" anchor="t" anchorCtr="0" compatLnSpc="1">
            <a:prstTxWarp prst="textNoShape">
              <a:avLst/>
            </a:prstTxWarp>
          </a:bodyPr>
          <a:lstStyle/>
          <a:p>
            <a:pPr algn="ctr"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400" dirty="0">
                <a:latin typeface="Montserrat" panose="00000500000000000000" pitchFamily="2" charset="0"/>
                <a:ea typeface="Microsoft YaHei" charset="-122"/>
              </a:rPr>
              <a:t>Jornada Presentación CPM</a:t>
            </a:r>
          </a:p>
        </p:txBody>
      </p: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id="{8EF157F7-6CEA-45D2-A668-A60FAE479A22}"/>
              </a:ext>
            </a:extLst>
          </p:cNvPr>
          <p:cNvCxnSpPr>
            <a:cxnSpLocks/>
            <a:endCxn id="50" idx="0"/>
          </p:cNvCxnSpPr>
          <p:nvPr/>
        </p:nvCxnSpPr>
        <p:spPr bwMode="auto">
          <a:xfrm>
            <a:off x="10072070" y="1472913"/>
            <a:ext cx="0" cy="1369847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Rectángulo: esquinas redondeadas 61">
            <a:extLst>
              <a:ext uri="{FF2B5EF4-FFF2-40B4-BE49-F238E27FC236}">
                <a16:creationId xmlns:a16="http://schemas.microsoft.com/office/drawing/2014/main" id="{D20CAB9A-5DA4-401D-A647-9AA72B0A404C}"/>
              </a:ext>
            </a:extLst>
          </p:cNvPr>
          <p:cNvSpPr/>
          <p:nvPr/>
        </p:nvSpPr>
        <p:spPr bwMode="auto">
          <a:xfrm>
            <a:off x="9030799" y="1206696"/>
            <a:ext cx="1845213" cy="62693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202" tIns="45601" rIns="91202" bIns="45601" numCol="1" rtlCol="0" anchor="ctr" anchorCtr="0" compatLnSpc="1">
            <a:prstTxWarp prst="textNoShape">
              <a:avLst/>
            </a:prstTxWarp>
          </a:bodyPr>
          <a:lstStyle/>
          <a:p>
            <a:pPr algn="ctr"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100" b="1" dirty="0">
                <a:latin typeface="Montserrat" panose="00000500000000000000" pitchFamily="2" charset="0"/>
                <a:ea typeface="Microsoft YaHei" charset="-122"/>
              </a:rPr>
              <a:t>Informe de Conclusiones</a:t>
            </a:r>
          </a:p>
        </p:txBody>
      </p:sp>
      <p:cxnSp>
        <p:nvCxnSpPr>
          <p:cNvPr id="63" name="Conector recto 62">
            <a:extLst>
              <a:ext uri="{FF2B5EF4-FFF2-40B4-BE49-F238E27FC236}">
                <a16:creationId xmlns:a16="http://schemas.microsoft.com/office/drawing/2014/main" id="{5D5B6DAA-9E0A-4605-BFA5-96EB3831779F}"/>
              </a:ext>
            </a:extLst>
          </p:cNvPr>
          <p:cNvCxnSpPr>
            <a:cxnSpLocks/>
            <a:stCxn id="51" idx="4"/>
          </p:cNvCxnSpPr>
          <p:nvPr/>
        </p:nvCxnSpPr>
        <p:spPr bwMode="auto">
          <a:xfrm>
            <a:off x="11454869" y="3139598"/>
            <a:ext cx="0" cy="428048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CuadroTexto 63">
            <a:extLst>
              <a:ext uri="{FF2B5EF4-FFF2-40B4-BE49-F238E27FC236}">
                <a16:creationId xmlns:a16="http://schemas.microsoft.com/office/drawing/2014/main" id="{6B5B600C-D1E7-49E6-8AF7-0D6E2CCB27EE}"/>
              </a:ext>
            </a:extLst>
          </p:cNvPr>
          <p:cNvSpPr txBox="1"/>
          <p:nvPr/>
        </p:nvSpPr>
        <p:spPr>
          <a:xfrm>
            <a:off x="318558" y="2665178"/>
            <a:ext cx="8130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>
                <a:latin typeface="Montserrat" panose="00000500000000000000" pitchFamily="2" charset="0"/>
              </a:rPr>
              <a:t>09/11/23</a:t>
            </a:r>
          </a:p>
        </p:txBody>
      </p:sp>
      <p:cxnSp>
        <p:nvCxnSpPr>
          <p:cNvPr id="65" name="Conector recto de flecha 64">
            <a:extLst>
              <a:ext uri="{FF2B5EF4-FFF2-40B4-BE49-F238E27FC236}">
                <a16:creationId xmlns:a16="http://schemas.microsoft.com/office/drawing/2014/main" id="{A496B8E4-EC56-431F-8780-370B6DF685EC}"/>
              </a:ext>
            </a:extLst>
          </p:cNvPr>
          <p:cNvCxnSpPr/>
          <p:nvPr/>
        </p:nvCxnSpPr>
        <p:spPr bwMode="auto">
          <a:xfrm>
            <a:off x="1630250" y="4702968"/>
            <a:ext cx="2714630" cy="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66" name="CuadroTexto 65">
            <a:extLst>
              <a:ext uri="{FF2B5EF4-FFF2-40B4-BE49-F238E27FC236}">
                <a16:creationId xmlns:a16="http://schemas.microsoft.com/office/drawing/2014/main" id="{3CB52E7E-3FBC-4CF6-82AC-FA36A43366CE}"/>
              </a:ext>
            </a:extLst>
          </p:cNvPr>
          <p:cNvSpPr txBox="1"/>
          <p:nvPr/>
        </p:nvSpPr>
        <p:spPr>
          <a:xfrm>
            <a:off x="1992571" y="4389921"/>
            <a:ext cx="15616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>
                <a:latin typeface="Montserrat" panose="00000500000000000000" pitchFamily="2" charset="0"/>
              </a:rPr>
              <a:t>60 días naturales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90D43F76-45B9-EEFA-1716-A54CC56362B0}"/>
              </a:ext>
            </a:extLst>
          </p:cNvPr>
          <p:cNvSpPr txBox="1"/>
          <p:nvPr/>
        </p:nvSpPr>
        <p:spPr>
          <a:xfrm>
            <a:off x="3303087" y="2624317"/>
            <a:ext cx="8002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>
                <a:latin typeface="Montserrat" panose="00000500000000000000" pitchFamily="2" charset="0"/>
              </a:rPr>
              <a:t>19/12/23</a:t>
            </a:r>
          </a:p>
        </p:txBody>
      </p:sp>
      <p:sp>
        <p:nvSpPr>
          <p:cNvPr id="4" name="Elipse 50">
            <a:extLst>
              <a:ext uri="{FF2B5EF4-FFF2-40B4-BE49-F238E27FC236}">
                <a16:creationId xmlns:a16="http://schemas.microsoft.com/office/drawing/2014/main" id="{36FEBD56-A285-CF3B-E6B7-2F1B13809938}"/>
              </a:ext>
            </a:extLst>
          </p:cNvPr>
          <p:cNvSpPr/>
          <p:nvPr/>
        </p:nvSpPr>
        <p:spPr bwMode="auto">
          <a:xfrm>
            <a:off x="101841" y="2826340"/>
            <a:ext cx="301362" cy="313258"/>
          </a:xfrm>
          <a:prstGeom prst="ellipse">
            <a:avLst/>
          </a:prstGeom>
          <a:solidFill>
            <a:srgbClr val="0070C0"/>
          </a:solidFill>
          <a:ln w="571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02" tIns="45601" rIns="91202" bIns="45601" numCol="1" rtlCol="0" anchor="t" anchorCtr="0" compatLnSpc="1">
            <a:prstTxWarp prst="textNoShape">
              <a:avLst/>
            </a:prstTxWarp>
          </a:bodyPr>
          <a:lstStyle/>
          <a:p>
            <a:pPr defTabSz="448095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es-ES" sz="1200">
              <a:solidFill>
                <a:schemeClr val="bg1"/>
              </a:solidFill>
              <a:latin typeface="Montserrat" panose="00000500000000000000" pitchFamily="2" charset="0"/>
              <a:ea typeface="Microsoft YaHei" charset="-122"/>
            </a:endParaRPr>
          </a:p>
        </p:txBody>
      </p:sp>
      <p:cxnSp>
        <p:nvCxnSpPr>
          <p:cNvPr id="5" name="Conector recto 54">
            <a:extLst>
              <a:ext uri="{FF2B5EF4-FFF2-40B4-BE49-F238E27FC236}">
                <a16:creationId xmlns:a16="http://schemas.microsoft.com/office/drawing/2014/main" id="{A704E24A-FEDE-709B-58BF-0C146C2F8635}"/>
              </a:ext>
            </a:extLst>
          </p:cNvPr>
          <p:cNvCxnSpPr>
            <a:cxnSpLocks/>
          </p:cNvCxnSpPr>
          <p:nvPr/>
        </p:nvCxnSpPr>
        <p:spPr bwMode="auto">
          <a:xfrm>
            <a:off x="251134" y="3207067"/>
            <a:ext cx="0" cy="504866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" name="Rectángulo: esquinas redondeadas 58">
            <a:extLst>
              <a:ext uri="{FF2B5EF4-FFF2-40B4-BE49-F238E27FC236}">
                <a16:creationId xmlns:a16="http://schemas.microsoft.com/office/drawing/2014/main" id="{E73D9F0C-017E-F810-4260-AED5CEA51623}"/>
              </a:ext>
            </a:extLst>
          </p:cNvPr>
          <p:cNvSpPr/>
          <p:nvPr/>
        </p:nvSpPr>
        <p:spPr bwMode="auto">
          <a:xfrm>
            <a:off x="100363" y="3328616"/>
            <a:ext cx="1162052" cy="865977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202" tIns="45601" rIns="91202" bIns="45601" numCol="1" rtlCol="0" anchor="t" anchorCtr="0" compatLnSpc="1">
            <a:prstTxWarp prst="textNoShape">
              <a:avLst/>
            </a:prstTxWarp>
          </a:bodyPr>
          <a:lstStyle/>
          <a:p>
            <a:pPr algn="ctr" defTabSz="448095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100" b="1" dirty="0">
                <a:latin typeface="Montserrat" panose="00000500000000000000" pitchFamily="2" charset="0"/>
                <a:ea typeface="Microsoft YaHei" charset="-122"/>
              </a:rPr>
              <a:t>Informe de Vigilancia tecnológica</a:t>
            </a:r>
          </a:p>
          <a:p>
            <a:pPr algn="ctr" defTabSz="448095" fontAlgn="base">
              <a:lnSpc>
                <a:spcPts val="14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s-ES" sz="1100" b="1" dirty="0">
                <a:latin typeface="Montserrat" panose="00000500000000000000" pitchFamily="2" charset="0"/>
                <a:ea typeface="Microsoft YaHei" charset="-122"/>
              </a:rPr>
              <a:t>14/04/23</a:t>
            </a:r>
          </a:p>
        </p:txBody>
      </p:sp>
      <p:sp>
        <p:nvSpPr>
          <p:cNvPr id="7" name="Rectángulo 14">
            <a:extLst>
              <a:ext uri="{FF2B5EF4-FFF2-40B4-BE49-F238E27FC236}">
                <a16:creationId xmlns:a16="http://schemas.microsoft.com/office/drawing/2014/main" id="{6BF3919E-73CF-A556-6376-6E3D24699989}"/>
              </a:ext>
            </a:extLst>
          </p:cNvPr>
          <p:cNvSpPr/>
          <p:nvPr/>
        </p:nvSpPr>
        <p:spPr>
          <a:xfrm flipV="1">
            <a:off x="1448457" y="10995"/>
            <a:ext cx="596957" cy="76277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94000">
                <a:schemeClr val="accent1">
                  <a:lumMod val="20000"/>
                  <a:lumOff val="80000"/>
                </a:schemeClr>
              </a:gs>
              <a:gs pos="83000">
                <a:schemeClr val="tx1"/>
              </a:gs>
              <a:gs pos="100000">
                <a:schemeClr val="accent4">
                  <a:lumMod val="50000"/>
                </a:schemeClr>
              </a:gs>
            </a:gsLst>
            <a:lin ang="13500000" scaled="1"/>
            <a:tileRect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lang="es-ES" sz="3192" dirty="0">
              <a:solidFill>
                <a:schemeClr val="bg1"/>
              </a:solidFill>
            </a:endParaRPr>
          </a:p>
        </p:txBody>
      </p:sp>
      <p:sp>
        <p:nvSpPr>
          <p:cNvPr id="2" name="Google Shape;207;p24">
            <a:extLst>
              <a:ext uri="{FF2B5EF4-FFF2-40B4-BE49-F238E27FC236}">
                <a16:creationId xmlns:a16="http://schemas.microsoft.com/office/drawing/2014/main" id="{401F6912-CC92-20C7-9CF1-1FA1F765EB9D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8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3209247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ángulo 14">
            <a:extLst>
              <a:ext uri="{FF2B5EF4-FFF2-40B4-BE49-F238E27FC236}">
                <a16:creationId xmlns:a16="http://schemas.microsoft.com/office/drawing/2014/main" id="{458F46E1-BF25-4F33-B5DA-67AF83D4DD03}"/>
              </a:ext>
            </a:extLst>
          </p:cNvPr>
          <p:cNvSpPr/>
          <p:nvPr/>
        </p:nvSpPr>
        <p:spPr>
          <a:xfrm flipV="1">
            <a:off x="1448457" y="10995"/>
            <a:ext cx="596957" cy="76277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94000">
                <a:schemeClr val="accent1">
                  <a:lumMod val="20000"/>
                  <a:lumOff val="80000"/>
                </a:schemeClr>
              </a:gs>
              <a:gs pos="83000">
                <a:schemeClr val="tx1"/>
              </a:gs>
              <a:gs pos="100000">
                <a:schemeClr val="accent4">
                  <a:lumMod val="50000"/>
                </a:schemeClr>
              </a:gs>
            </a:gsLst>
            <a:lin ang="13500000" scaled="1"/>
            <a:tileRect/>
          </a:gradFill>
          <a:ln w="12700">
            <a:noFill/>
            <a:miter lim="400000"/>
          </a:ln>
        </p:spPr>
        <p:txBody>
          <a:bodyPr lIns="25334" tIns="25334" rIns="25334" bIns="25334" anchor="ctr"/>
          <a:lstStyle/>
          <a:p>
            <a:pPr defTabSz="912023"/>
            <a:endParaRPr lang="es-ES" sz="3192" dirty="0">
              <a:solidFill>
                <a:schemeClr val="bg1"/>
              </a:solidFill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C7DA380F-EAEC-4BE8-BA43-977CAD9EAF52}"/>
              </a:ext>
            </a:extLst>
          </p:cNvPr>
          <p:cNvSpPr txBox="1"/>
          <p:nvPr/>
        </p:nvSpPr>
        <p:spPr>
          <a:xfrm>
            <a:off x="2112331" y="166387"/>
            <a:ext cx="4400296" cy="6446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rtl="0">
              <a:defRPr lang="es-es"/>
            </a:defPPr>
            <a:lvl1pPr defTabSz="912023" fontAlgn="base">
              <a:spcBef>
                <a:spcPct val="0"/>
              </a:spcBef>
              <a:spcAft>
                <a:spcPct val="0"/>
              </a:spcAft>
              <a:defRPr sz="359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s-ES" dirty="0"/>
              <a:t>Documentos clave</a:t>
            </a:r>
          </a:p>
        </p:txBody>
      </p:sp>
      <p:grpSp>
        <p:nvGrpSpPr>
          <p:cNvPr id="24" name="Grupo 23">
            <a:extLst>
              <a:ext uri="{FF2B5EF4-FFF2-40B4-BE49-F238E27FC236}">
                <a16:creationId xmlns:a16="http://schemas.microsoft.com/office/drawing/2014/main" id="{06FDDC06-50F9-4B94-A555-924E5E8C0AFD}"/>
              </a:ext>
            </a:extLst>
          </p:cNvPr>
          <p:cNvGrpSpPr/>
          <p:nvPr/>
        </p:nvGrpSpPr>
        <p:grpSpPr>
          <a:xfrm>
            <a:off x="637039" y="1538067"/>
            <a:ext cx="9499682" cy="3467580"/>
            <a:chOff x="1485829" y="2138848"/>
            <a:chExt cx="9086150" cy="3054831"/>
          </a:xfrm>
        </p:grpSpPr>
        <p:grpSp>
          <p:nvGrpSpPr>
            <p:cNvPr id="25" name="Group 3">
              <a:extLst>
                <a:ext uri="{FF2B5EF4-FFF2-40B4-BE49-F238E27FC236}">
                  <a16:creationId xmlns:a16="http://schemas.microsoft.com/office/drawing/2014/main" id="{9341EC31-5B8F-4AB2-9287-A2C07AEF48E5}"/>
                </a:ext>
              </a:extLst>
            </p:cNvPr>
            <p:cNvGrpSpPr/>
            <p:nvPr/>
          </p:nvGrpSpPr>
          <p:grpSpPr>
            <a:xfrm>
              <a:off x="1485829" y="2138848"/>
              <a:ext cx="6177020" cy="906356"/>
              <a:chOff x="5244345" y="1021656"/>
              <a:chExt cx="3896070" cy="756179"/>
            </a:xfrm>
          </p:grpSpPr>
          <p:sp>
            <p:nvSpPr>
              <p:cNvPr id="42" name="Rounded Rectangle 4">
                <a:extLst>
                  <a:ext uri="{FF2B5EF4-FFF2-40B4-BE49-F238E27FC236}">
                    <a16:creationId xmlns:a16="http://schemas.microsoft.com/office/drawing/2014/main" id="{4B7AF70B-1C92-4F43-BBA9-6C3AE8A48FB2}"/>
                  </a:ext>
                </a:extLst>
              </p:cNvPr>
              <p:cNvSpPr/>
              <p:nvPr/>
            </p:nvSpPr>
            <p:spPr>
              <a:xfrm>
                <a:off x="5244345" y="1021656"/>
                <a:ext cx="669578" cy="749808"/>
              </a:xfrm>
              <a:prstGeom prst="roundRect">
                <a:avLst>
                  <a:gd name="adj" fmla="val 2214"/>
                </a:avLst>
              </a:prstGeom>
              <a:solidFill>
                <a:srgbClr val="0070C0"/>
              </a:solidFill>
              <a:ln w="25400" cap="flat" cmpd="sng" algn="ctr">
                <a:noFill/>
                <a:prstDash val="solid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91202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s-ES" sz="1995" kern="0" dirty="0">
                    <a:solidFill>
                      <a:schemeClr val="bg1"/>
                    </a:solidFill>
                    <a:ea typeface="linea-basic-10" charset="0"/>
                    <a:cs typeface="linea-basic-10" charset="0"/>
                  </a:rPr>
                  <a:t>A</a:t>
                </a:r>
                <a:endParaRPr lang="es-ES" sz="997" kern="0" dirty="0">
                  <a:solidFill>
                    <a:schemeClr val="bg1"/>
                  </a:solidFill>
                  <a:ea typeface="linea-basic-10" charset="0"/>
                  <a:cs typeface="linea-basic-10" charset="0"/>
                </a:endParaRPr>
              </a:p>
            </p:txBody>
          </p:sp>
          <p:sp>
            <p:nvSpPr>
              <p:cNvPr id="43" name="Title 3">
                <a:extLst>
                  <a:ext uri="{FF2B5EF4-FFF2-40B4-BE49-F238E27FC236}">
                    <a16:creationId xmlns:a16="http://schemas.microsoft.com/office/drawing/2014/main" id="{AED1355D-ACDF-40DF-978A-BB6367AB207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99239" y="1134150"/>
                <a:ext cx="2750499" cy="449003"/>
              </a:xfrm>
              <a:prstGeom prst="rect">
                <a:avLst/>
              </a:prstGeom>
            </p:spPr>
            <p:txBody>
              <a:bodyPr/>
              <a:lstStyle>
                <a:lvl1pPr algn="l" defTabSz="914400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3600" b="1" i="0" kern="1200">
                    <a:solidFill>
                      <a:schemeClr val="tx1"/>
                    </a:solidFill>
                    <a:latin typeface="Roboto Thin" charset="0"/>
                    <a:ea typeface="Roboto Thin" charset="0"/>
                    <a:cs typeface="Roboto Thin" charset="0"/>
                  </a:defRPr>
                </a:lvl1pPr>
              </a:lstStyle>
              <a:p>
                <a:pPr defTabSz="912023" fontAlgn="base">
                  <a:lnSpc>
                    <a:spcPct val="80000"/>
                  </a:lnSpc>
                  <a:spcAft>
                    <a:spcPct val="0"/>
                  </a:spcAft>
                  <a:defRPr/>
                </a:pPr>
                <a:r>
                  <a:rPr lang="es-ES" sz="2394" b="0" dirty="0">
                    <a:latin typeface="+mn-lt"/>
                    <a:ea typeface="Roboto Light" charset="0"/>
                    <a:cs typeface="Roboto Light" charset="0"/>
                  </a:rPr>
                  <a:t>Anuncio de la Consulta</a:t>
                </a:r>
                <a:endParaRPr lang="es-ES" sz="1047" b="0" dirty="0">
                  <a:latin typeface="+mn-lt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44" name="Title 3">
                <a:extLst>
                  <a:ext uri="{FF2B5EF4-FFF2-40B4-BE49-F238E27FC236}">
                    <a16:creationId xmlns:a16="http://schemas.microsoft.com/office/drawing/2014/main" id="{BA2735AC-AD54-4CB0-90A2-9951976D0EF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999239" y="1469790"/>
                <a:ext cx="3141176" cy="308045"/>
              </a:xfrm>
              <a:prstGeom prst="rect">
                <a:avLst/>
              </a:prstGeom>
            </p:spPr>
            <p:txBody>
              <a:bodyPr/>
              <a:lstStyle>
                <a:defPPr rtl="0">
                  <a:defRPr lang="es-es"/>
                </a:defPPr>
                <a:lvl1pPr defTabSz="914400" fontAlgn="base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097" b="1" i="0">
                    <a:solidFill>
                      <a:srgbClr val="000099"/>
                    </a:solidFill>
                    <a:ea typeface="Roboto Thin" charset="0"/>
                    <a:cs typeface="Roboto Thin" charset="0"/>
                  </a:defRPr>
                </a:lvl1pPr>
              </a:lstStyle>
              <a:p>
                <a:r>
                  <a:rPr lang="es-ES" dirty="0"/>
                  <a:t>Resolución relativa a la convocatoria de la consulta</a:t>
                </a:r>
              </a:p>
            </p:txBody>
          </p:sp>
        </p:grpSp>
        <p:grpSp>
          <p:nvGrpSpPr>
            <p:cNvPr id="26" name="Group 7">
              <a:extLst>
                <a:ext uri="{FF2B5EF4-FFF2-40B4-BE49-F238E27FC236}">
                  <a16:creationId xmlns:a16="http://schemas.microsoft.com/office/drawing/2014/main" id="{C468D7AB-CE15-4D8D-9B25-08FC79F941D0}"/>
                </a:ext>
              </a:extLst>
            </p:cNvPr>
            <p:cNvGrpSpPr/>
            <p:nvPr/>
          </p:nvGrpSpPr>
          <p:grpSpPr>
            <a:xfrm>
              <a:off x="1973712" y="4606639"/>
              <a:ext cx="8170353" cy="587040"/>
              <a:chOff x="5244345" y="1021656"/>
              <a:chExt cx="5770830" cy="821940"/>
            </a:xfrm>
          </p:grpSpPr>
          <p:sp>
            <p:nvSpPr>
              <p:cNvPr id="39" name="Rounded Rectangle 8">
                <a:extLst>
                  <a:ext uri="{FF2B5EF4-FFF2-40B4-BE49-F238E27FC236}">
                    <a16:creationId xmlns:a16="http://schemas.microsoft.com/office/drawing/2014/main" id="{28C07654-4A94-4E2A-AEDC-EC66897FA9FD}"/>
                  </a:ext>
                </a:extLst>
              </p:cNvPr>
              <p:cNvSpPr/>
              <p:nvPr/>
            </p:nvSpPr>
            <p:spPr>
              <a:xfrm>
                <a:off x="5244345" y="1021656"/>
                <a:ext cx="749808" cy="749808"/>
              </a:xfrm>
              <a:prstGeom prst="roundRect">
                <a:avLst>
                  <a:gd name="adj" fmla="val 2214"/>
                </a:avLst>
              </a:prstGeom>
              <a:solidFill>
                <a:schemeClr val="accent4">
                  <a:lumMod val="75000"/>
                </a:schemeClr>
              </a:solidFill>
              <a:ln w="25400" cap="flat" cmpd="sng" algn="ctr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91202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s-ES" sz="1995" kern="0">
                    <a:solidFill>
                      <a:schemeClr val="bg1"/>
                    </a:solidFill>
                    <a:ea typeface="linea-basic-10" charset="0"/>
                    <a:cs typeface="linea-basic-10" charset="0"/>
                  </a:rPr>
                  <a:t>F</a:t>
                </a:r>
                <a:endParaRPr lang="es-ES" sz="997" kern="0">
                  <a:solidFill>
                    <a:schemeClr val="bg1"/>
                  </a:solidFill>
                  <a:ea typeface="linea-basic-10" charset="0"/>
                  <a:cs typeface="linea-basic-10" charset="0"/>
                </a:endParaRPr>
              </a:p>
            </p:txBody>
          </p:sp>
          <p:sp>
            <p:nvSpPr>
              <p:cNvPr id="40" name="Title 3">
                <a:extLst>
                  <a:ext uri="{FF2B5EF4-FFF2-40B4-BE49-F238E27FC236}">
                    <a16:creationId xmlns:a16="http://schemas.microsoft.com/office/drawing/2014/main" id="{D81731CF-6584-4E23-84B9-AEE76DA2327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89694" y="1067429"/>
                <a:ext cx="3096333" cy="555404"/>
              </a:xfrm>
              <a:prstGeom prst="rect">
                <a:avLst/>
              </a:prstGeom>
            </p:spPr>
            <p:txBody>
              <a:bodyPr/>
              <a:lstStyle>
                <a:lvl1pPr algn="l" defTabSz="914400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3600" b="1" i="0" kern="1200">
                    <a:solidFill>
                      <a:schemeClr val="tx1"/>
                    </a:solidFill>
                    <a:latin typeface="Roboto Thin" charset="0"/>
                    <a:ea typeface="Roboto Thin" charset="0"/>
                    <a:cs typeface="Roboto Thin" charset="0"/>
                  </a:defRPr>
                </a:lvl1pPr>
              </a:lstStyle>
              <a:p>
                <a:pPr defTabSz="912023" fontAlgn="base">
                  <a:lnSpc>
                    <a:spcPct val="80000"/>
                  </a:lnSpc>
                  <a:spcAft>
                    <a:spcPct val="0"/>
                  </a:spcAft>
                  <a:defRPr/>
                </a:pPr>
                <a:r>
                  <a:rPr lang="es-ES" sz="2394" b="0" dirty="0">
                    <a:latin typeface="+mn-lt"/>
                    <a:ea typeface="Roboto Light" charset="0"/>
                    <a:cs typeface="Roboto Light" charset="0"/>
                  </a:rPr>
                  <a:t>Formulario de propuesta</a:t>
                </a:r>
                <a:endParaRPr lang="es-ES" sz="1047" b="0" dirty="0">
                  <a:latin typeface="+mn-lt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41" name="Title 3">
                <a:extLst>
                  <a:ext uri="{FF2B5EF4-FFF2-40B4-BE49-F238E27FC236}">
                    <a16:creationId xmlns:a16="http://schemas.microsoft.com/office/drawing/2014/main" id="{48CBE3E2-0D9A-4681-B144-5ACB3D56E70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106793" y="1540836"/>
                <a:ext cx="4908382" cy="302760"/>
              </a:xfrm>
              <a:prstGeom prst="rect">
                <a:avLst/>
              </a:prstGeom>
            </p:spPr>
            <p:txBody>
              <a:bodyPr/>
              <a:lstStyle>
                <a:lvl1pPr algn="l" defTabSz="914400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3600" b="1" i="0" kern="1200">
                    <a:solidFill>
                      <a:schemeClr val="tx1"/>
                    </a:solidFill>
                    <a:latin typeface="Roboto Thin" charset="0"/>
                    <a:ea typeface="Roboto Thin" charset="0"/>
                    <a:cs typeface="Roboto Thin" charset="0"/>
                  </a:defRPr>
                </a:lvl1pPr>
              </a:lstStyle>
              <a:p>
                <a:pPr fontAlgn="base">
                  <a:lnSpc>
                    <a:spcPct val="80000"/>
                  </a:lnSpc>
                  <a:spcAft>
                    <a:spcPct val="0"/>
                  </a:spcAft>
                  <a:defRPr/>
                </a:pPr>
                <a:r>
                  <a:rPr lang="es-ES" sz="1097" dirty="0">
                    <a:solidFill>
                      <a:srgbClr val="000099"/>
                    </a:solidFill>
                    <a:latin typeface="+mn-lt"/>
                  </a:rPr>
                  <a:t>Son las preguntas a responder por parte de las entidades– Anexo II</a:t>
                </a:r>
              </a:p>
            </p:txBody>
          </p:sp>
        </p:grpSp>
        <p:grpSp>
          <p:nvGrpSpPr>
            <p:cNvPr id="27" name="Group 7">
              <a:extLst>
                <a:ext uri="{FF2B5EF4-FFF2-40B4-BE49-F238E27FC236}">
                  <a16:creationId xmlns:a16="http://schemas.microsoft.com/office/drawing/2014/main" id="{17A5101F-9A3A-4A20-BCE0-650253C3705C}"/>
                </a:ext>
              </a:extLst>
            </p:cNvPr>
            <p:cNvGrpSpPr/>
            <p:nvPr/>
          </p:nvGrpSpPr>
          <p:grpSpPr>
            <a:xfrm>
              <a:off x="1972521" y="3930595"/>
              <a:ext cx="8599458" cy="563531"/>
              <a:chOff x="5244345" y="1021656"/>
              <a:chExt cx="6073912" cy="789022"/>
            </a:xfrm>
          </p:grpSpPr>
          <p:sp>
            <p:nvSpPr>
              <p:cNvPr id="36" name="Rounded Rectangle 8">
                <a:extLst>
                  <a:ext uri="{FF2B5EF4-FFF2-40B4-BE49-F238E27FC236}">
                    <a16:creationId xmlns:a16="http://schemas.microsoft.com/office/drawing/2014/main" id="{5D0D7193-B455-4037-99DE-F1F408A446B6}"/>
                  </a:ext>
                </a:extLst>
              </p:cNvPr>
              <p:cNvSpPr/>
              <p:nvPr/>
            </p:nvSpPr>
            <p:spPr>
              <a:xfrm>
                <a:off x="5244345" y="1021656"/>
                <a:ext cx="749808" cy="749808"/>
              </a:xfrm>
              <a:prstGeom prst="roundRect">
                <a:avLst>
                  <a:gd name="adj" fmla="val 2214"/>
                </a:avLst>
              </a:prstGeom>
              <a:solidFill>
                <a:schemeClr val="accent4">
                  <a:lumMod val="75000"/>
                </a:schemeClr>
              </a:solidFill>
              <a:ln w="25400" cap="flat" cmpd="sng" algn="ctr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91202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s-ES" sz="1995" kern="0">
                    <a:solidFill>
                      <a:schemeClr val="bg1"/>
                    </a:solidFill>
                    <a:ea typeface="linea-basic-10" charset="0"/>
                    <a:cs typeface="linea-basic-10" charset="0"/>
                  </a:rPr>
                  <a:t>R</a:t>
                </a:r>
                <a:endParaRPr lang="es-ES" sz="997" kern="0">
                  <a:solidFill>
                    <a:schemeClr val="bg1"/>
                  </a:solidFill>
                  <a:ea typeface="linea-basic-10" charset="0"/>
                  <a:cs typeface="linea-basic-10" charset="0"/>
                </a:endParaRPr>
              </a:p>
            </p:txBody>
          </p:sp>
          <p:sp>
            <p:nvSpPr>
              <p:cNvPr id="37" name="Title 3">
                <a:extLst>
                  <a:ext uri="{FF2B5EF4-FFF2-40B4-BE49-F238E27FC236}">
                    <a16:creationId xmlns:a16="http://schemas.microsoft.com/office/drawing/2014/main" id="{510E670B-7D06-4096-AE73-78C8EA3C0A5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89694" y="1025143"/>
                <a:ext cx="1948177" cy="449003"/>
              </a:xfrm>
              <a:prstGeom prst="rect">
                <a:avLst/>
              </a:prstGeom>
            </p:spPr>
            <p:txBody>
              <a:bodyPr/>
              <a:lstStyle>
                <a:lvl1pPr algn="l" defTabSz="914400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3600" b="1" i="0" kern="1200">
                    <a:solidFill>
                      <a:schemeClr val="tx1"/>
                    </a:solidFill>
                    <a:latin typeface="Roboto Thin" charset="0"/>
                    <a:ea typeface="Roboto Thin" charset="0"/>
                    <a:cs typeface="Roboto Thin" charset="0"/>
                  </a:defRPr>
                </a:lvl1pPr>
              </a:lstStyle>
              <a:p>
                <a:pPr defTabSz="912023" fontAlgn="base">
                  <a:lnSpc>
                    <a:spcPct val="80000"/>
                  </a:lnSpc>
                  <a:spcAft>
                    <a:spcPct val="0"/>
                  </a:spcAft>
                  <a:defRPr/>
                </a:pPr>
                <a:r>
                  <a:rPr lang="es-ES" sz="2394" b="0" dirty="0">
                    <a:latin typeface="+mn-lt"/>
                    <a:ea typeface="Roboto Light" charset="0"/>
                    <a:cs typeface="Roboto Light" charset="0"/>
                  </a:rPr>
                  <a:t>Retos</a:t>
                </a:r>
                <a:endParaRPr lang="es-ES" sz="1047" b="0" dirty="0">
                  <a:latin typeface="+mn-lt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8" name="Title 3">
                <a:extLst>
                  <a:ext uri="{FF2B5EF4-FFF2-40B4-BE49-F238E27FC236}">
                    <a16:creationId xmlns:a16="http://schemas.microsoft.com/office/drawing/2014/main" id="{0C79BE66-0403-4426-BFD9-6488EBF0983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106792" y="1507919"/>
                <a:ext cx="5211465" cy="302759"/>
              </a:xfrm>
              <a:prstGeom prst="rect">
                <a:avLst/>
              </a:prstGeom>
            </p:spPr>
            <p:txBody>
              <a:bodyPr/>
              <a:lstStyle>
                <a:defPPr rtl="0">
                  <a:defRPr lang="es-es"/>
                </a:defPPr>
                <a:lvl1pPr defTabSz="914400" fontAlgn="base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None/>
                  <a:defRPr sz="1097" b="1" i="0">
                    <a:solidFill>
                      <a:srgbClr val="000099"/>
                    </a:solidFill>
                    <a:ea typeface="Roboto Thin" charset="0"/>
                    <a:cs typeface="Roboto Thin" charset="0"/>
                  </a:defRPr>
                </a:lvl1pPr>
              </a:lstStyle>
              <a:p>
                <a:r>
                  <a:rPr lang="es-ES" dirty="0"/>
                  <a:t>Descripción de la necesidad – Anexo I</a:t>
                </a:r>
              </a:p>
            </p:txBody>
          </p:sp>
        </p:grpSp>
        <p:grpSp>
          <p:nvGrpSpPr>
            <p:cNvPr id="28" name="Group 7">
              <a:extLst>
                <a:ext uri="{FF2B5EF4-FFF2-40B4-BE49-F238E27FC236}">
                  <a16:creationId xmlns:a16="http://schemas.microsoft.com/office/drawing/2014/main" id="{3007E4D9-7988-41F9-ACD8-88A835A740CF}"/>
                </a:ext>
              </a:extLst>
            </p:cNvPr>
            <p:cNvGrpSpPr/>
            <p:nvPr/>
          </p:nvGrpSpPr>
          <p:grpSpPr>
            <a:xfrm>
              <a:off x="1980762" y="3252867"/>
              <a:ext cx="6177021" cy="551865"/>
              <a:chOff x="5244345" y="1021656"/>
              <a:chExt cx="4362913" cy="772689"/>
            </a:xfrm>
          </p:grpSpPr>
          <p:sp>
            <p:nvSpPr>
              <p:cNvPr id="33" name="Rounded Rectangle 8">
                <a:extLst>
                  <a:ext uri="{FF2B5EF4-FFF2-40B4-BE49-F238E27FC236}">
                    <a16:creationId xmlns:a16="http://schemas.microsoft.com/office/drawing/2014/main" id="{CA75E21D-5132-4FDD-8469-B778D0D52133}"/>
                  </a:ext>
                </a:extLst>
              </p:cNvPr>
              <p:cNvSpPr/>
              <p:nvPr/>
            </p:nvSpPr>
            <p:spPr>
              <a:xfrm>
                <a:off x="5244345" y="1021656"/>
                <a:ext cx="749808" cy="749808"/>
              </a:xfrm>
              <a:prstGeom prst="roundRect">
                <a:avLst>
                  <a:gd name="adj" fmla="val 2214"/>
                </a:avLst>
              </a:prstGeom>
              <a:solidFill>
                <a:schemeClr val="accent4">
                  <a:lumMod val="75000"/>
                </a:schemeClr>
              </a:solidFill>
              <a:ln w="25400" cap="flat" cmpd="sng" algn="ctr">
                <a:solidFill>
                  <a:schemeClr val="accent4">
                    <a:lumMod val="60000"/>
                    <a:lumOff val="40000"/>
                  </a:schemeClr>
                </a:solidFill>
                <a:prstDash val="solid"/>
              </a:ln>
              <a:effectLst>
                <a:outerShdw blurRad="38100" dist="12700" dir="5400000" algn="t" rotWithShape="0">
                  <a:prstClr val="black">
                    <a:alpha val="15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912023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s-ES" sz="1995" kern="0">
                    <a:solidFill>
                      <a:schemeClr val="bg1"/>
                    </a:solidFill>
                    <a:ea typeface="linea-basic-10" charset="0"/>
                    <a:cs typeface="linea-basic-10" charset="0"/>
                  </a:rPr>
                  <a:t>B</a:t>
                </a:r>
              </a:p>
            </p:txBody>
          </p:sp>
          <p:sp>
            <p:nvSpPr>
              <p:cNvPr id="34" name="Title 3">
                <a:extLst>
                  <a:ext uri="{FF2B5EF4-FFF2-40B4-BE49-F238E27FC236}">
                    <a16:creationId xmlns:a16="http://schemas.microsoft.com/office/drawing/2014/main" id="{2285427E-71C0-48B3-AF6C-CB17C0F720C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89694" y="1067431"/>
                <a:ext cx="3517564" cy="449004"/>
              </a:xfrm>
              <a:prstGeom prst="rect">
                <a:avLst/>
              </a:prstGeom>
            </p:spPr>
            <p:txBody>
              <a:bodyPr/>
              <a:lstStyle>
                <a:lvl1pPr algn="l" defTabSz="914400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3600" b="1" i="0" kern="1200">
                    <a:solidFill>
                      <a:schemeClr val="tx1"/>
                    </a:solidFill>
                    <a:latin typeface="Roboto Thin" charset="0"/>
                    <a:ea typeface="Roboto Thin" charset="0"/>
                    <a:cs typeface="Roboto Thin" charset="0"/>
                  </a:defRPr>
                </a:lvl1pPr>
              </a:lstStyle>
              <a:p>
                <a:pPr defTabSz="912023" fontAlgn="base">
                  <a:lnSpc>
                    <a:spcPct val="80000"/>
                  </a:lnSpc>
                  <a:spcAft>
                    <a:spcPct val="0"/>
                  </a:spcAft>
                  <a:defRPr/>
                </a:pPr>
                <a:r>
                  <a:rPr lang="es-ES" sz="2394" b="0" dirty="0">
                    <a:latin typeface="+mn-lt"/>
                    <a:ea typeface="Roboto Light" charset="0"/>
                    <a:cs typeface="Roboto Light" charset="0"/>
                  </a:rPr>
                  <a:t>Bases de participación</a:t>
                </a:r>
                <a:endParaRPr lang="es-ES" sz="1047" b="0" dirty="0">
                  <a:latin typeface="+mn-lt"/>
                  <a:ea typeface="Roboto Light" charset="0"/>
                  <a:cs typeface="Roboto Light" charset="0"/>
                </a:endParaRPr>
              </a:p>
            </p:txBody>
          </p:sp>
          <p:sp>
            <p:nvSpPr>
              <p:cNvPr id="35" name="Title 3">
                <a:extLst>
                  <a:ext uri="{FF2B5EF4-FFF2-40B4-BE49-F238E27FC236}">
                    <a16:creationId xmlns:a16="http://schemas.microsoft.com/office/drawing/2014/main" id="{866CB1AB-382E-4B08-B919-5D62C7D2F85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106793" y="1540838"/>
                <a:ext cx="2259915" cy="253507"/>
              </a:xfrm>
              <a:prstGeom prst="rect">
                <a:avLst/>
              </a:prstGeom>
            </p:spPr>
            <p:txBody>
              <a:bodyPr/>
              <a:lstStyle>
                <a:lvl1pPr algn="l" defTabSz="914400" rtl="0" eaLnBrk="1" latinLnBrk="0" hangingPunct="1">
                  <a:lnSpc>
                    <a:spcPct val="70000"/>
                  </a:lnSpc>
                  <a:spcBef>
                    <a:spcPct val="0"/>
                  </a:spcBef>
                  <a:buNone/>
                  <a:defRPr sz="3600" b="1" i="0" kern="1200">
                    <a:solidFill>
                      <a:schemeClr val="tx1"/>
                    </a:solidFill>
                    <a:latin typeface="Roboto Thin" charset="0"/>
                    <a:ea typeface="Roboto Thin" charset="0"/>
                    <a:cs typeface="Roboto Thin" charset="0"/>
                  </a:defRPr>
                </a:lvl1pPr>
              </a:lstStyle>
              <a:p>
                <a:pPr fontAlgn="base">
                  <a:lnSpc>
                    <a:spcPct val="80000"/>
                  </a:lnSpc>
                  <a:spcAft>
                    <a:spcPct val="0"/>
                  </a:spcAft>
                  <a:defRPr/>
                </a:pPr>
                <a:r>
                  <a:rPr lang="es-ES" sz="1097" dirty="0">
                    <a:solidFill>
                      <a:srgbClr val="000099"/>
                    </a:solidFill>
                    <a:latin typeface="+mn-lt"/>
                  </a:rPr>
                  <a:t>Describen las normas de las CPM</a:t>
                </a:r>
              </a:p>
            </p:txBody>
          </p:sp>
        </p:grpSp>
      </p:grpSp>
      <p:sp>
        <p:nvSpPr>
          <p:cNvPr id="3" name="Google Shape;207;p24">
            <a:extLst>
              <a:ext uri="{FF2B5EF4-FFF2-40B4-BE49-F238E27FC236}">
                <a16:creationId xmlns:a16="http://schemas.microsoft.com/office/drawing/2014/main" id="{EFBBD184-2D0E-D9FB-914A-0E03E830ED11}"/>
              </a:ext>
            </a:extLst>
          </p:cNvPr>
          <p:cNvSpPr txBox="1">
            <a:spLocks/>
          </p:cNvSpPr>
          <p:nvPr/>
        </p:nvSpPr>
        <p:spPr>
          <a:xfrm>
            <a:off x="11636817" y="6621265"/>
            <a:ext cx="523433" cy="219075"/>
          </a:xfrm>
          <a:prstGeom prst="rect">
            <a:avLst/>
          </a:prstGeom>
          <a:solidFill>
            <a:srgbClr val="003A43"/>
          </a:solidFill>
        </p:spPr>
        <p:txBody>
          <a:bodyPr spcFirstLastPara="1" wrap="square" lIns="121583" tIns="121583" rIns="121583" bIns="121583" anchor="ctr" anchorCtr="0">
            <a:no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1pPr>
            <a:lvl2pPr marL="45699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2pPr>
            <a:lvl3pPr marL="9139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3pPr>
            <a:lvl4pPr marL="13709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4pPr>
            <a:lvl5pPr marL="182796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5pPr>
            <a:lvl6pPr marL="2284960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6pPr>
            <a:lvl7pPr marL="2741952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7pPr>
            <a:lvl8pPr marL="3198944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8pPr>
            <a:lvl9pPr marL="3655936" algn="l" defTabSz="913984" rtl="0" eaLnBrk="1" latinLnBrk="0" hangingPunct="1">
              <a:defRPr kern="1200">
                <a:solidFill>
                  <a:schemeClr val="tx1"/>
                </a:solidFill>
                <a:latin typeface="Charlesworth"/>
                <a:ea typeface="+mn-ea"/>
                <a:cs typeface="+mn-cs"/>
              </a:defRPr>
            </a:lvl9pPr>
          </a:lstStyle>
          <a:p>
            <a:pPr algn="ctr" defTabSz="12160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fld id="{AF847E11-2F66-4659-B06C-CCB97618B9FF}" type="slidenum">
              <a:rPr lang="en" sz="1596" b="1" kern="0" smtClean="0">
                <a:solidFill>
                  <a:srgbClr val="FFFFFF"/>
                </a:solidFill>
                <a:latin typeface="Barlow"/>
                <a:sym typeface="Barlow"/>
              </a:rPr>
              <a:t>9</a:t>
            </a:fld>
            <a:endParaRPr lang="en" sz="1596" b="1" kern="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19949115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LABEL" val="POWER_USER_DIAGRAM_CIRCULAR_LABE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mechani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oup_POWER_USER_SEPARATOR_ICONS_group-meeting_POWER_USER_SEPARATOR_ICONS_group-of-users_POWER_USER_SEPARATOR_ICONS_people_POWER_USER_SEPARATOR_ICONS_persons_POWER_USER_SEPARATOR_ICONS_user-meeting_POWER_USER_SEPARATOR_ICONS_user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overnment_POWER_USER_SEPARATOR_ICONS_bank_POWER_USER_SEPARATOR_ICONS_building_POWER_USER_SEPARATOR_ICONS_pillars_POWER_USER_SEPARATOR_ICONS_politic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mechanic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ear_POWER_USER_SEPARATOR_ICONS_cogs_POWER_USER_SEPARATOR_ICONS_gears_POWER_USER_SEPARATOR_ICONS_machine_POWER_USER_SEPARATOR_ICONS_mechanic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avel_POWER_USER_SEPARATOR_ICONS_court_POWER_USER_SEPARATOR_ICONS_hammer_POWER_USER_SEPARATOR_ICONS_judge_POWER_USER_SEPARATOR_ICONS_justice_POWER_USER_SEPARATOR_ICONS_law_POWER_USER_SEPARATOR_ICONS_tri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43063694_TF00306528.potx  -  Recuperado" id="{2BD51F9A-7E01-4CC5-AECC-30116ED61F50}" vid="{6F5AA66C-E691-4DE6-8A0F-B6217FEAB323}"/>
    </a:ext>
  </a:extLst>
</a:theme>
</file>

<file path=ppt/theme/theme2.xml><?xml version="1.0" encoding="utf-8"?>
<a:theme xmlns:a="http://schemas.openxmlformats.org/drawingml/2006/main" name="Tema de la oficin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4b775f6-7872-4a77-b0dd-f8412c7fb37a" xsi:nil="true"/>
    <lcf76f155ced4ddcb4097134ff3c332f xmlns="d28d7398-f7fc-4954-83ea-714f4abc163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7D04F9EDA4A5247A9914ADEDF0F605E" ma:contentTypeVersion="17" ma:contentTypeDescription="Crear nuevo documento." ma:contentTypeScope="" ma:versionID="960aa61e7921bfa91690b6cc86271258">
  <xsd:schema xmlns:xsd="http://www.w3.org/2001/XMLSchema" xmlns:xs="http://www.w3.org/2001/XMLSchema" xmlns:p="http://schemas.microsoft.com/office/2006/metadata/properties" xmlns:ns2="d28d7398-f7fc-4954-83ea-714f4abc163f" xmlns:ns3="04b775f6-7872-4a77-b0dd-f8412c7fb37a" targetNamespace="http://schemas.microsoft.com/office/2006/metadata/properties" ma:root="true" ma:fieldsID="c43a2e9892de22f28a1ac4967be66d5b" ns2:_="" ns3:_="">
    <xsd:import namespace="d28d7398-f7fc-4954-83ea-714f4abc163f"/>
    <xsd:import namespace="04b775f6-7872-4a77-b0dd-f8412c7fb3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8d7398-f7fc-4954-83ea-714f4abc16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n" ma:readOnly="false" ma:fieldId="{5cf76f15-5ced-4ddc-b409-7134ff3c332f}" ma:taxonomyMulti="true" ma:sspId="7346039f-02cc-4ba4-a79b-23b6212a2d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b775f6-7872-4a77-b0dd-f8412c7fb37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c2f6114-a5bb-4e7a-a57b-c9d897a4d678}" ma:internalName="TaxCatchAll" ma:showField="CatchAllData" ma:web="04b775f6-7872-4a77-b0dd-f8412c7fb37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9457760-6D9B-4A44-BD29-3EEA1273BBCE}">
  <ds:schemaRefs>
    <ds:schemaRef ds:uri="http://schemas.microsoft.com/office/2006/metadata/properties"/>
    <ds:schemaRef ds:uri="096b5502-fb0b-4212-a258-6e7a10b58edf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030874d7-9fef-4d84-87d9-005a91b40e80"/>
    <ds:schemaRef ds:uri="http://www.w3.org/XML/1998/namespace"/>
    <ds:schemaRef ds:uri="http://purl.org/dc/elements/1.1/"/>
    <ds:schemaRef ds:uri="04b775f6-7872-4a77-b0dd-f8412c7fb37a"/>
    <ds:schemaRef ds:uri="d28d7398-f7fc-4954-83ea-714f4abc163f"/>
  </ds:schemaRefs>
</ds:datastoreItem>
</file>

<file path=customXml/itemProps2.xml><?xml version="1.0" encoding="utf-8"?>
<ds:datastoreItem xmlns:ds="http://schemas.openxmlformats.org/officeDocument/2006/customXml" ds:itemID="{42652994-259E-42B3-9780-7173FB34725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7B5DE2A-D0CE-4A7E-B31D-723B1546C7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8d7398-f7fc-4954-83ea-714f4abc163f"/>
    <ds:schemaRef ds:uri="04b775f6-7872-4a77-b0dd-f8412c7fb37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ertical para los eventos de su vida en Instagram</Template>
  <TotalTime>2262</TotalTime>
  <Words>790</Words>
  <Application>Microsoft Office PowerPoint</Application>
  <PresentationFormat>Personalizado</PresentationFormat>
  <Paragraphs>157</Paragraphs>
  <Slides>13</Slides>
  <Notes>12</Notes>
  <HiddenSlides>0</HiddenSlides>
  <MMClips>0</MMClips>
  <ScaleCrop>false</ScaleCrop>
  <HeadingPairs>
    <vt:vector size="6" baseType="variant">
      <vt:variant>
        <vt:lpstr>Fue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5" baseType="lpstr">
      <vt:lpstr>Arial</vt:lpstr>
      <vt:lpstr>Barlow</vt:lpstr>
      <vt:lpstr>Calibri</vt:lpstr>
      <vt:lpstr>Calibri Light</vt:lpstr>
      <vt:lpstr>Charlesworth</vt:lpstr>
      <vt:lpstr>Futura PT Book</vt:lpstr>
      <vt:lpstr>Gill Sans</vt:lpstr>
      <vt:lpstr>Lato</vt:lpstr>
      <vt:lpstr>Montserrat</vt:lpstr>
      <vt:lpstr>Roboto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ónica Antón</dc:creator>
  <cp:lastModifiedBy>Morales Quintero, Estefania</cp:lastModifiedBy>
  <cp:revision>7</cp:revision>
  <dcterms:created xsi:type="dcterms:W3CDTF">2022-11-11T07:45:03Z</dcterms:created>
  <dcterms:modified xsi:type="dcterms:W3CDTF">2023-12-11T15:0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D04F9EDA4A5247A9914ADEDF0F605E</vt:lpwstr>
  </property>
  <property fmtid="{D5CDD505-2E9C-101B-9397-08002B2CF9AE}" pid="3" name="MediaServiceImageTags">
    <vt:lpwstr/>
  </property>
</Properties>
</file>